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5" r:id="rId1"/>
  </p:sldMasterIdLst>
  <p:notesMasterIdLst>
    <p:notesMasterId r:id="rId17"/>
  </p:notesMasterIdLst>
  <p:sldIdLst>
    <p:sldId id="256" r:id="rId2"/>
    <p:sldId id="288" r:id="rId3"/>
    <p:sldId id="258" r:id="rId4"/>
    <p:sldId id="257" r:id="rId5"/>
    <p:sldId id="260" r:id="rId6"/>
    <p:sldId id="259" r:id="rId7"/>
    <p:sldId id="261" r:id="rId8"/>
    <p:sldId id="262" r:id="rId9"/>
    <p:sldId id="264" r:id="rId10"/>
    <p:sldId id="263" r:id="rId11"/>
    <p:sldId id="274" r:id="rId12"/>
    <p:sldId id="286" r:id="rId13"/>
    <p:sldId id="270" r:id="rId14"/>
    <p:sldId id="272" r:id="rId15"/>
    <p:sldId id="287" r:id="rId16"/>
  </p:sldIdLst>
  <p:sldSz cx="9144000" cy="5143500" type="screen16x9"/>
  <p:notesSz cx="6858000" cy="9144000"/>
  <p:embeddedFontLst>
    <p:embeddedFont>
      <p:font typeface="Arvo" panose="020B0604020202020204" charset="0"/>
      <p:regular r:id="rId18"/>
      <p:bold r:id="rId19"/>
      <p:italic r:id="rId20"/>
      <p:boldItalic r:id="rId21"/>
    </p:embeddedFont>
    <p:embeddedFont>
      <p:font typeface="Bodoni" panose="020B0604020202020204" charset="0"/>
      <p:regular r:id="rId22"/>
      <p:bold r:id="rId23"/>
      <p:italic r:id="rId24"/>
      <p:boldItalic r:id="rId25"/>
    </p:embeddedFont>
    <p:embeddedFont>
      <p:font typeface="Ubuntu" panose="020B0604020202020204" charset="0"/>
      <p:regular r:id="rId26"/>
      <p:bold r:id="rId27"/>
      <p:italic r:id="rId28"/>
      <p:boldItalic r:id="rId29"/>
    </p:embeddedFont>
    <p:embeddedFont>
      <p:font typeface="Ubuntu Medium" panose="020B0604020202020204" charset="0"/>
      <p:regular r:id="rId30"/>
      <p:bold r:id="rId31"/>
      <p:italic r:id="rId32"/>
      <p:boldItalic r:id="rId33"/>
    </p:embeddedFont>
    <p:embeddedFont>
      <p:font typeface="Ubuntu Light" panose="020B0604020202020204" charset="0"/>
      <p:regular r:id="rId34"/>
      <p:bold r:id="rId35"/>
      <p:italic r:id="rId36"/>
      <p:boldItalic r:id="rId37"/>
    </p:embeddedFont>
    <p:embeddedFont>
      <p:font typeface="Calibri" panose="020F0502020204030204" pitchFamily="34" charset="0"/>
      <p:regular r:id="rId38"/>
      <p:bold r:id="rId3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871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8FF324-D5AF-49EA-A2E9-B6584FF6F7AD}">
  <a:tblStyle styleId="{548FF324-D5AF-49EA-A2E9-B6584FF6F7A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720" y="48"/>
      </p:cViewPr>
      <p:guideLst>
        <p:guide orient="horz"/>
        <p:guide orient="horz" pos="3053"/>
        <p:guide orient="horz" pos="28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font" Target="fonts/font22.fntdata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font" Target="fonts/font20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font" Target="fonts/font19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font" Target="fonts/font2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442eb61d9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442eb61d9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Google Shape;666;g442eb61d9d_0_4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7" name="Google Shape;667;g442eb61d9d_0_4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442eb61d9d_0_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442eb61d9d_0_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442eb61d9d_0_4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2" name="Google Shape;342;g442eb61d9d_0_4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052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g442eb61d9d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8" name="Google Shape;208;g442eb61d9d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442eb61d9d_0_6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442eb61d9d_0_6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42eb61d9d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" name="Google Shape;231;g442eb61d9d_0_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g442eb61d9d_0_6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5" name="Google Shape;255;g442eb61d9d_0_6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442eb61d9d_0_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442eb61d9d_0_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slide" type="title">
  <p:cSld name="TITLE"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0" y="0"/>
            <a:ext cx="55618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434343"/>
              </a:solidFill>
            </a:endParaRPr>
          </a:p>
        </p:txBody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1610650" y="1856275"/>
            <a:ext cx="6157800" cy="875700"/>
          </a:xfrm>
          <a:prstGeom prst="rect">
            <a:avLst/>
          </a:prstGeom>
          <a:ln w="38100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endParaRPr dirty="0"/>
          </a:p>
        </p:txBody>
      </p:sp>
      <p:sp>
        <p:nvSpPr>
          <p:cNvPr id="4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5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&amp; some text slide 2">
  <p:cSld name="BIG_NUMBER_2">
    <p:bg>
      <p:bgPr>
        <a:solidFill>
          <a:schemeClr val="lt1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6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title" hasCustomPrompt="1"/>
          </p:nvPr>
        </p:nvSpPr>
        <p:spPr>
          <a:xfrm>
            <a:off x="742950" y="1238100"/>
            <a:ext cx="7729500" cy="196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25" name="Google Shape;125;p1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6"/>
          <p:cNvSpPr txBox="1">
            <a:spLocks noGrp="1"/>
          </p:cNvSpPr>
          <p:nvPr>
            <p:ph type="subTitle" idx="1"/>
          </p:nvPr>
        </p:nvSpPr>
        <p:spPr>
          <a:xfrm>
            <a:off x="2433300" y="3015325"/>
            <a:ext cx="42774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chemeClr val="lt1"/>
        </a:solidFill>
        <a:effectLst/>
      </p:bgPr>
    </p:bg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rame">
  <p:cSld name="BLANK_1_1">
    <p:bg>
      <p:bgPr>
        <a:solidFill>
          <a:schemeClr val="lt1"/>
        </a:solidFill>
        <a:effectLst/>
      </p:bgPr>
    </p:bg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/>
          <p:nvPr/>
        </p:nvSpPr>
        <p:spPr>
          <a:xfrm>
            <a:off x="406950" y="352183"/>
            <a:ext cx="8330100" cy="431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" name="Google Shape;51;p8"/>
          <p:cNvSpPr/>
          <p:nvPr userDrawn="1"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 with cyan frame">
  <p:cSld name="CUSTOM_1_1_1">
    <p:bg>
      <p:bgPr>
        <a:solidFill>
          <a:schemeClr val="lt1"/>
        </a:solidFill>
        <a:effectLst/>
      </p:bgPr>
    </p:bg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21"/>
          <p:cNvSpPr/>
          <p:nvPr/>
        </p:nvSpPr>
        <p:spPr>
          <a:xfrm>
            <a:off x="4609950" y="352182"/>
            <a:ext cx="4127100" cy="431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7" name="Google Shape;147;p2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buNone/>
              <a:defRPr>
                <a:solidFill>
                  <a:srgbClr val="D9D9D9"/>
                </a:solidFill>
              </a:defRPr>
            </a:lvl2pPr>
            <a:lvl3pPr lvl="2" rtl="0">
              <a:buNone/>
              <a:defRPr>
                <a:solidFill>
                  <a:srgbClr val="D9D9D9"/>
                </a:solidFill>
              </a:defRPr>
            </a:lvl3pPr>
            <a:lvl4pPr lvl="3" rtl="0">
              <a:buNone/>
              <a:defRPr>
                <a:solidFill>
                  <a:srgbClr val="D9D9D9"/>
                </a:solidFill>
              </a:defRPr>
            </a:lvl4pPr>
            <a:lvl5pPr lvl="4" rtl="0">
              <a:buNone/>
              <a:defRPr>
                <a:solidFill>
                  <a:srgbClr val="D9D9D9"/>
                </a:solidFill>
              </a:defRPr>
            </a:lvl5pPr>
            <a:lvl6pPr lvl="5" rtl="0">
              <a:buNone/>
              <a:defRPr>
                <a:solidFill>
                  <a:srgbClr val="D9D9D9"/>
                </a:solidFill>
              </a:defRPr>
            </a:lvl6pPr>
            <a:lvl7pPr lvl="6" rtl="0">
              <a:buNone/>
              <a:defRPr>
                <a:solidFill>
                  <a:srgbClr val="D9D9D9"/>
                </a:solidFill>
              </a:defRPr>
            </a:lvl7pPr>
            <a:lvl8pPr lvl="7" rtl="0">
              <a:buNone/>
              <a:defRPr>
                <a:solidFill>
                  <a:srgbClr val="D9D9D9"/>
                </a:solidFill>
              </a:defRPr>
            </a:lvl8pPr>
            <a:lvl9pPr lvl="8" rtl="0">
              <a:buNone/>
              <a:defRPr>
                <a:solidFill>
                  <a:srgbClr val="D9D9D9"/>
                </a:solidFill>
              </a:defRPr>
            </a:lvl9pPr>
          </a:lstStyle>
          <a:p>
            <a:endParaRPr lang="en-US" smtClean="0"/>
          </a:p>
          <a:p>
            <a:fld id="{00000000-1234-1234-1234-123412341234}" type="slidenum">
              <a:rPr lang="es" smtClean="0"/>
              <a:pPr/>
              <a:t>‹#›</a:t>
            </a:fld>
            <a:endParaRPr dirty="0"/>
          </a:p>
        </p:txBody>
      </p:sp>
      <p:sp>
        <p:nvSpPr>
          <p:cNvPr id="148" name="Google Shape;148;p21"/>
          <p:cNvSpPr txBox="1">
            <a:spLocks noGrp="1"/>
          </p:cNvSpPr>
          <p:nvPr>
            <p:ph type="title"/>
          </p:nvPr>
        </p:nvSpPr>
        <p:spPr>
          <a:xfrm>
            <a:off x="626079" y="980260"/>
            <a:ext cx="3571500" cy="578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>
            <a:endParaRPr dirty="0"/>
          </a:p>
        </p:txBody>
      </p:sp>
      <p:sp>
        <p:nvSpPr>
          <p:cNvPr id="149" name="Google Shape;149;p21"/>
          <p:cNvSpPr txBox="1">
            <a:spLocks noGrp="1"/>
          </p:cNvSpPr>
          <p:nvPr>
            <p:ph type="subTitle" idx="1"/>
          </p:nvPr>
        </p:nvSpPr>
        <p:spPr>
          <a:xfrm>
            <a:off x="626079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cxnSp>
        <p:nvCxnSpPr>
          <p:cNvPr id="150" name="Google Shape;150;p21"/>
          <p:cNvCxnSpPr/>
          <p:nvPr/>
        </p:nvCxnSpPr>
        <p:spPr>
          <a:xfrm>
            <a:off x="737850" y="15974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Google Shape;151;p21"/>
          <p:cNvSpPr txBox="1">
            <a:spLocks noGrp="1"/>
          </p:cNvSpPr>
          <p:nvPr>
            <p:ph type="subTitle" idx="2"/>
          </p:nvPr>
        </p:nvSpPr>
        <p:spPr>
          <a:xfrm>
            <a:off x="5079304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 dirty="0"/>
          </a:p>
        </p:txBody>
      </p:sp>
      <p:sp>
        <p:nvSpPr>
          <p:cNvPr id="8" name="Google Shape;51;p8"/>
          <p:cNvSpPr/>
          <p:nvPr userDrawn="1"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yan with title and text">
  <p:cSld name="CUSTOM_7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5"/>
          <p:cNvSpPr/>
          <p:nvPr/>
        </p:nvSpPr>
        <p:spPr>
          <a:xfrm>
            <a:off x="-73650" y="-11150"/>
            <a:ext cx="9228900" cy="521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" name="Google Shape;167;p25"/>
          <p:cNvSpPr/>
          <p:nvPr/>
        </p:nvSpPr>
        <p:spPr>
          <a:xfrm>
            <a:off x="406950" y="352184"/>
            <a:ext cx="8330100" cy="431101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8" name="Google Shape;168;p25"/>
          <p:cNvSpPr/>
          <p:nvPr/>
        </p:nvSpPr>
        <p:spPr>
          <a:xfrm>
            <a:off x="406950" y="1220035"/>
            <a:ext cx="2170650" cy="5504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25"/>
          <p:cNvSpPr txBox="1">
            <a:spLocks noGrp="1"/>
          </p:cNvSpPr>
          <p:nvPr>
            <p:ph type="title"/>
          </p:nvPr>
        </p:nvSpPr>
        <p:spPr>
          <a:xfrm>
            <a:off x="2608950" y="1220034"/>
            <a:ext cx="3926100" cy="55041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 dirty="0"/>
          </a:p>
        </p:txBody>
      </p:sp>
      <p:sp>
        <p:nvSpPr>
          <p:cNvPr id="170" name="Google Shape;170;p25"/>
          <p:cNvSpPr txBox="1">
            <a:spLocks noGrp="1"/>
          </p:cNvSpPr>
          <p:nvPr>
            <p:ph type="subTitle" idx="1"/>
          </p:nvPr>
        </p:nvSpPr>
        <p:spPr>
          <a:xfrm>
            <a:off x="2675901" y="2547750"/>
            <a:ext cx="31362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 dirty="0"/>
          </a:p>
        </p:txBody>
      </p:sp>
      <p:sp>
        <p:nvSpPr>
          <p:cNvPr id="7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8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Content" type="secHead">
  <p:cSld name="SECTION_HEADER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6" name="Google Shape;16;p3"/>
          <p:cNvSpPr/>
          <p:nvPr/>
        </p:nvSpPr>
        <p:spPr>
          <a:xfrm>
            <a:off x="4572000" y="429350"/>
            <a:ext cx="2772000" cy="635700"/>
          </a:xfrm>
          <a:prstGeom prst="rect">
            <a:avLst/>
          </a:prstGeom>
          <a:noFill/>
          <a:ln w="38100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/>
          <p:nvPr/>
        </p:nvSpPr>
        <p:spPr>
          <a:xfrm>
            <a:off x="406950" y="352200"/>
            <a:ext cx="244875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>
            <a:off x="3582225" y="142617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3582225" y="2553400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3"/>
          <p:cNvSpPr/>
          <p:nvPr/>
        </p:nvSpPr>
        <p:spPr>
          <a:xfrm>
            <a:off x="3582225" y="368062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title" idx="7" hasCustomPrompt="1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8" hasCustomPrompt="1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 idx="9" hasCustomPrompt="1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9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SECTION_HEADER_1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 txBox="1">
            <a:spLocks noGrp="1"/>
          </p:cNvSpPr>
          <p:nvPr>
            <p:ph type="title"/>
          </p:nvPr>
        </p:nvSpPr>
        <p:spPr>
          <a:xfrm>
            <a:off x="570047" y="993900"/>
            <a:ext cx="30555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2" name="Google Shape;42;p6"/>
          <p:cNvSpPr txBox="1">
            <a:spLocks noGrp="1"/>
          </p:cNvSpPr>
          <p:nvPr>
            <p:ph type="subTitle" idx="1"/>
          </p:nvPr>
        </p:nvSpPr>
        <p:spPr>
          <a:xfrm>
            <a:off x="614775" y="2564775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44" name="Google Shape;44;p6"/>
          <p:cNvCxnSpPr/>
          <p:nvPr/>
        </p:nvCxnSpPr>
        <p:spPr>
          <a:xfrm>
            <a:off x="678525" y="20605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CUSTOM">
    <p:bg>
      <p:bgPr>
        <a:solidFill>
          <a:schemeClr val="lt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/>
          <p:nvPr/>
        </p:nvSpPr>
        <p:spPr>
          <a:xfrm>
            <a:off x="1395500" y="892500"/>
            <a:ext cx="6189000" cy="2731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>
                    <a:lumMod val="9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9" name="Google Shape;49;p7"/>
          <p:cNvSpPr txBox="1">
            <a:spLocks noGrp="1"/>
          </p:cNvSpPr>
          <p:nvPr>
            <p:ph type="subTitle" idx="2"/>
          </p:nvPr>
        </p:nvSpPr>
        <p:spPr>
          <a:xfrm>
            <a:off x="1894475" y="2977400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6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ody slide" type="tx">
  <p:cSld name="TITLE_AND_BODY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 dirty="0"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000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55" name="Google Shape;55;p8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design 1">
  <p:cSld name="TITLE_AND_BODY_2">
    <p:bg>
      <p:bgPr>
        <a:solidFill>
          <a:schemeClr val="lt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9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" name="Google Shape;58;p9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 dirty="0"/>
          </a:p>
        </p:txBody>
      </p:sp>
      <p:sp>
        <p:nvSpPr>
          <p:cNvPr id="59" name="Google Shape;59;p9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60" name="Google Shape;60;p9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TITLE_AND_BODY_1">
    <p:bg>
      <p:bgPr>
        <a:solidFill>
          <a:schemeClr val="lt1"/>
        </a:solidFill>
        <a:effectLst/>
      </p:bgPr>
    </p:bg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0"/>
          <p:cNvSpPr txBox="1">
            <a:spLocks noGrp="1"/>
          </p:cNvSpPr>
          <p:nvPr>
            <p:ph type="title"/>
          </p:nvPr>
        </p:nvSpPr>
        <p:spPr>
          <a:xfrm>
            <a:off x="4598900" y="953209"/>
            <a:ext cx="3888000" cy="1206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 dirty="0"/>
          </a:p>
        </p:txBody>
      </p:sp>
      <p:sp>
        <p:nvSpPr>
          <p:cNvPr id="63" name="Google Shape;63;p10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64" name="Google Shape;64;p10"/>
          <p:cNvSpPr/>
          <p:nvPr/>
        </p:nvSpPr>
        <p:spPr>
          <a:xfrm>
            <a:off x="0" y="0"/>
            <a:ext cx="4259700" cy="5143500"/>
          </a:xfrm>
          <a:prstGeom prst="snip2DiagRect">
            <a:avLst>
              <a:gd name="adj1" fmla="val 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subTitle" idx="1"/>
          </p:nvPr>
        </p:nvSpPr>
        <p:spPr>
          <a:xfrm>
            <a:off x="4598900" y="2968204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cxnSp>
        <p:nvCxnSpPr>
          <p:cNvPr id="66" name="Google Shape;66;p10"/>
          <p:cNvCxnSpPr/>
          <p:nvPr/>
        </p:nvCxnSpPr>
        <p:spPr>
          <a:xfrm>
            <a:off x="4778200" y="278062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2 columns slide" type="twoColTx">
  <p:cSld name="TITLE_AND_TWO_COLUMNS">
    <p:bg>
      <p:bgPr>
        <a:solidFill>
          <a:schemeClr val="lt1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1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" name="Google Shape;69;p11"/>
          <p:cNvCxnSpPr/>
          <p:nvPr/>
        </p:nvCxnSpPr>
        <p:spPr>
          <a:xfrm>
            <a:off x="4550550" y="1941425"/>
            <a:ext cx="0" cy="19275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70;p1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71" name="Google Shape;71;p11"/>
          <p:cNvSpPr txBox="1">
            <a:spLocks noGrp="1"/>
          </p:cNvSpPr>
          <p:nvPr>
            <p:ph type="ctrTitle"/>
          </p:nvPr>
        </p:nvSpPr>
        <p:spPr>
          <a:xfrm>
            <a:off x="111322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 i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subTitle" idx="1"/>
          </p:nvPr>
        </p:nvSpPr>
        <p:spPr>
          <a:xfrm>
            <a:off x="1113229" y="2177000"/>
            <a:ext cx="31014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ctrTitle" idx="2"/>
          </p:nvPr>
        </p:nvSpPr>
        <p:spPr>
          <a:xfrm>
            <a:off x="481837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 i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74" name="Google Shape;74;p11"/>
          <p:cNvSpPr txBox="1">
            <a:spLocks noGrp="1"/>
          </p:cNvSpPr>
          <p:nvPr>
            <p:ph type="subTitle" idx="3"/>
          </p:nvPr>
        </p:nvSpPr>
        <p:spPr>
          <a:xfrm>
            <a:off x="4818379" y="2177000"/>
            <a:ext cx="31014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title" idx="4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3 columns slide">
  <p:cSld name="TITLE_AND_TWO_COLUMNS_1">
    <p:bg>
      <p:bgPr>
        <a:solidFill>
          <a:schemeClr val="lt1"/>
        </a:solidFill>
        <a:effectLst/>
      </p:bgPr>
    </p:bg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3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title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 dirty="0"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89" name="Google Shape;89;p13"/>
          <p:cNvSpPr txBox="1">
            <a:spLocks noGrp="1"/>
          </p:cNvSpPr>
          <p:nvPr>
            <p:ph type="ctrTitle" idx="2"/>
          </p:nvPr>
        </p:nvSpPr>
        <p:spPr>
          <a:xfrm>
            <a:off x="1105351" y="2062425"/>
            <a:ext cx="2113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subTitle" idx="1"/>
          </p:nvPr>
        </p:nvSpPr>
        <p:spPr>
          <a:xfrm>
            <a:off x="1105354" y="2667875"/>
            <a:ext cx="2113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ctrTitle" idx="3"/>
          </p:nvPr>
        </p:nvSpPr>
        <p:spPr>
          <a:xfrm>
            <a:off x="3515251" y="2062425"/>
            <a:ext cx="2113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3"/>
          <p:cNvSpPr txBox="1">
            <a:spLocks noGrp="1"/>
          </p:cNvSpPr>
          <p:nvPr>
            <p:ph type="subTitle" idx="4"/>
          </p:nvPr>
        </p:nvSpPr>
        <p:spPr>
          <a:xfrm>
            <a:off x="3515254" y="2667875"/>
            <a:ext cx="2113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93" name="Google Shape;93;p13"/>
          <p:cNvSpPr txBox="1">
            <a:spLocks noGrp="1"/>
          </p:cNvSpPr>
          <p:nvPr>
            <p:ph type="ctrTitle" idx="5"/>
          </p:nvPr>
        </p:nvSpPr>
        <p:spPr>
          <a:xfrm>
            <a:off x="5925151" y="2062425"/>
            <a:ext cx="2113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94" name="Google Shape;94;p13"/>
          <p:cNvSpPr txBox="1">
            <a:spLocks noGrp="1"/>
          </p:cNvSpPr>
          <p:nvPr>
            <p:ph type="subTitle" idx="6"/>
          </p:nvPr>
        </p:nvSpPr>
        <p:spPr>
          <a:xfrm>
            <a:off x="5925154" y="2667875"/>
            <a:ext cx="21135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cxnSp>
        <p:nvCxnSpPr>
          <p:cNvPr id="95" name="Google Shape;95;p13"/>
          <p:cNvCxnSpPr/>
          <p:nvPr/>
        </p:nvCxnSpPr>
        <p:spPr>
          <a:xfrm>
            <a:off x="3406450" y="1926825"/>
            <a:ext cx="0" cy="19413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6" name="Google Shape;96;p13"/>
          <p:cNvCxnSpPr/>
          <p:nvPr/>
        </p:nvCxnSpPr>
        <p:spPr>
          <a:xfrm>
            <a:off x="5737375" y="1926825"/>
            <a:ext cx="0" cy="19413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buntu"/>
              <a:buNone/>
              <a:defRPr sz="2400" b="1">
                <a:solidFill>
                  <a:schemeClr val="dk1"/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lvl="2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lvl="3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lvl="8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#›</a:t>
            </a:fld>
            <a:endParaRPr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706128"/>
            <a:ext cx="2327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Python Hero Academy</a:t>
            </a:r>
            <a:endParaRPr lang="en-US" dirty="0">
              <a:solidFill>
                <a:schemeClr val="tx2">
                  <a:lumMod val="75000"/>
                </a:schemeClr>
              </a:solidFill>
              <a:latin typeface="Ubuntu" panose="020B0604020202020204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9" r:id="rId9"/>
    <p:sldLayoutId id="2147483662" r:id="rId10"/>
    <p:sldLayoutId id="2147483664" r:id="rId11"/>
    <p:sldLayoutId id="2147483665" r:id="rId12"/>
    <p:sldLayoutId id="2147483667" r:id="rId13"/>
    <p:sldLayoutId id="2147483671" r:id="rId14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>
              <a:lumMod val="65000"/>
            </a:schemeClr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30"/>
          <p:cNvSpPr txBox="1">
            <a:spLocks noGrp="1"/>
          </p:cNvSpPr>
          <p:nvPr>
            <p:ph type="ctrTitle"/>
          </p:nvPr>
        </p:nvSpPr>
        <p:spPr>
          <a:xfrm>
            <a:off x="550248" y="1803251"/>
            <a:ext cx="4832195" cy="2114543"/>
          </a:xfrm>
          <a:prstGeom prst="rect">
            <a:avLst/>
          </a:prstGeom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i="1" dirty="0" smtClean="0"/>
              <a:t>1. Introduction to Programming and Python</a:t>
            </a:r>
            <a:endParaRPr i="1" dirty="0"/>
          </a:p>
        </p:txBody>
      </p:sp>
      <p:sp>
        <p:nvSpPr>
          <p:cNvPr id="190" name="Google Shape;190;p30"/>
          <p:cNvSpPr txBox="1"/>
          <p:nvPr/>
        </p:nvSpPr>
        <p:spPr>
          <a:xfrm>
            <a:off x="1370609" y="1144752"/>
            <a:ext cx="40044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bg1">
                  <a:lumMod val="85000"/>
                </a:schemeClr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grpSp>
        <p:nvGrpSpPr>
          <p:cNvPr id="8" name="Idea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42211" y="852561"/>
            <a:ext cx="1361903" cy="1505518"/>
            <a:chOff x="2087986" y="1812758"/>
            <a:chExt cx="316995" cy="350423"/>
          </a:xfrm>
        </p:grpSpPr>
        <p:sp>
          <p:nvSpPr>
            <p:cNvPr id="9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538439" y="2542477"/>
            <a:ext cx="33899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34343"/>
                </a:solidFill>
                <a:latin typeface="Ubuntu"/>
                <a:sym typeface="Ubuntu"/>
              </a:rPr>
              <a:t>E</a:t>
            </a:r>
            <a:r>
              <a:rPr lang="es" sz="2400" b="1" dirty="0" smtClean="0">
                <a:solidFill>
                  <a:srgbClr val="434343"/>
                </a:solidFill>
                <a:latin typeface="Ubuntu"/>
                <a:sym typeface="Ubuntu"/>
              </a:rPr>
              <a:t>mail address and other info for ideas and suggestions</a:t>
            </a:r>
            <a:endParaRPr lang="en-US" sz="105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</a:t>
            </a:fld>
            <a:endParaRPr lang="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7"/>
          <p:cNvSpPr txBox="1">
            <a:spLocks noGrp="1"/>
          </p:cNvSpPr>
          <p:nvPr>
            <p:ph type="title" idx="4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2400" dirty="0" smtClean="0"/>
              <a:t>Dividing to two</a:t>
            </a:r>
            <a:endParaRPr sz="2400" dirty="0"/>
          </a:p>
        </p:txBody>
      </p:sp>
      <p:sp>
        <p:nvSpPr>
          <p:cNvPr id="247" name="Google Shape;247;p3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 sz="1200">
                <a:latin typeface="Arvo"/>
                <a:ea typeface="Arvo"/>
                <a:cs typeface="Arvo"/>
                <a:sym typeface="Arvo"/>
              </a:rPr>
              <a:t>10</a:t>
            </a:fld>
            <a:endParaRPr sz="1200">
              <a:latin typeface="Arvo"/>
              <a:ea typeface="Arvo"/>
              <a:cs typeface="Arvo"/>
              <a:sym typeface="Arvo"/>
            </a:endParaRPr>
          </a:p>
        </p:txBody>
      </p:sp>
      <p:cxnSp>
        <p:nvCxnSpPr>
          <p:cNvPr id="248" name="Google Shape;248;p37"/>
          <p:cNvCxnSpPr/>
          <p:nvPr/>
        </p:nvCxnSpPr>
        <p:spPr>
          <a:xfrm>
            <a:off x="4550550" y="1941425"/>
            <a:ext cx="0" cy="19275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9" name="Google Shape;249;p37"/>
          <p:cNvSpPr txBox="1">
            <a:spLocks noGrp="1"/>
          </p:cNvSpPr>
          <p:nvPr>
            <p:ph type="ctrTitle"/>
          </p:nvPr>
        </p:nvSpPr>
        <p:spPr>
          <a:xfrm>
            <a:off x="111322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b="0" dirty="0" smtClean="0">
                <a:latin typeface="Ubuntu Medium"/>
                <a:ea typeface="Ubuntu Medium"/>
                <a:cs typeface="Ubuntu Medium"/>
                <a:sym typeface="Ubuntu Medium"/>
              </a:rPr>
              <a:t>Pros</a:t>
            </a:r>
            <a:endParaRPr dirty="0"/>
          </a:p>
        </p:txBody>
      </p:sp>
      <p:sp>
        <p:nvSpPr>
          <p:cNvPr id="250" name="Google Shape;250;p37"/>
          <p:cNvSpPr txBox="1">
            <a:spLocks noGrp="1"/>
          </p:cNvSpPr>
          <p:nvPr>
            <p:ph type="subTitle" idx="1"/>
          </p:nvPr>
        </p:nvSpPr>
        <p:spPr>
          <a:xfrm>
            <a:off x="1113225" y="2177000"/>
            <a:ext cx="3101400" cy="21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1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2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3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4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5</a:t>
            </a:r>
            <a:r>
              <a:rPr lang="es" dirty="0"/>
              <a:t>.</a:t>
            </a:r>
            <a:endParaRPr lang="es" dirty="0" smtClean="0"/>
          </a:p>
        </p:txBody>
      </p:sp>
      <p:sp>
        <p:nvSpPr>
          <p:cNvPr id="251" name="Google Shape;251;p37"/>
          <p:cNvSpPr txBox="1">
            <a:spLocks noGrp="1"/>
          </p:cNvSpPr>
          <p:nvPr>
            <p:ph type="ctrTitle" idx="2"/>
          </p:nvPr>
        </p:nvSpPr>
        <p:spPr>
          <a:xfrm>
            <a:off x="481837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Cons</a:t>
            </a:r>
            <a:endParaRPr dirty="0"/>
          </a:p>
        </p:txBody>
      </p:sp>
      <p:sp>
        <p:nvSpPr>
          <p:cNvPr id="252" name="Google Shape;252;p37"/>
          <p:cNvSpPr txBox="1">
            <a:spLocks noGrp="1"/>
          </p:cNvSpPr>
          <p:nvPr>
            <p:ph type="subTitle" idx="3"/>
          </p:nvPr>
        </p:nvSpPr>
        <p:spPr>
          <a:xfrm>
            <a:off x="4818375" y="2177000"/>
            <a:ext cx="3101400" cy="21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1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2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3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4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5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9" name="Google Shape;669;p48"/>
          <p:cNvGrpSpPr/>
          <p:nvPr/>
        </p:nvGrpSpPr>
        <p:grpSpPr>
          <a:xfrm>
            <a:off x="1907514" y="1611245"/>
            <a:ext cx="5328973" cy="2793092"/>
            <a:chOff x="1907514" y="1611245"/>
            <a:chExt cx="5328973" cy="2793092"/>
          </a:xfrm>
        </p:grpSpPr>
        <p:sp>
          <p:nvSpPr>
            <p:cNvPr id="670" name="Google Shape;670;p48"/>
            <p:cNvSpPr/>
            <p:nvPr/>
          </p:nvSpPr>
          <p:spPr>
            <a:xfrm>
              <a:off x="1907514" y="1611245"/>
              <a:ext cx="1103817" cy="1191534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346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46" y="4756"/>
                  </a:cubicBezTo>
                  <a:lnTo>
                    <a:pt x="2046" y="4756"/>
                  </a:lnTo>
                  <a:lnTo>
                    <a:pt x="2366" y="5224"/>
                  </a:lnTo>
                  <a:lnTo>
                    <a:pt x="2687" y="4756"/>
                  </a:lnTo>
                  <a:lnTo>
                    <a:pt x="4387" y="4756"/>
                  </a:lnTo>
                  <a:cubicBezTo>
                    <a:pt x="4572" y="4756"/>
                    <a:pt x="4732" y="4608"/>
                    <a:pt x="4732" y="4423"/>
                  </a:cubicBezTo>
                  <a:lnTo>
                    <a:pt x="4732" y="333"/>
                  </a:lnTo>
                  <a:cubicBezTo>
                    <a:pt x="4732" y="148"/>
                    <a:pt x="4584" y="0"/>
                    <a:pt x="43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1" name="Google Shape;671;p48"/>
            <p:cNvSpPr/>
            <p:nvPr/>
          </p:nvSpPr>
          <p:spPr>
            <a:xfrm>
              <a:off x="3974021" y="1611245"/>
              <a:ext cx="1101018" cy="1191534"/>
            </a:xfrm>
            <a:custGeom>
              <a:avLst/>
              <a:gdLst/>
              <a:ahLst/>
              <a:cxnLst/>
              <a:rect l="l" t="t" r="r" b="b"/>
              <a:pathLst>
                <a:path w="4720" h="5225" extrusionOk="0">
                  <a:moveTo>
                    <a:pt x="333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33" y="4756"/>
                  </a:cubicBezTo>
                  <a:lnTo>
                    <a:pt x="2046" y="4756"/>
                  </a:lnTo>
                  <a:lnTo>
                    <a:pt x="2354" y="5224"/>
                  </a:lnTo>
                  <a:lnTo>
                    <a:pt x="2674" y="4756"/>
                  </a:lnTo>
                  <a:lnTo>
                    <a:pt x="4387" y="4756"/>
                  </a:lnTo>
                  <a:cubicBezTo>
                    <a:pt x="4572" y="4756"/>
                    <a:pt x="4720" y="4608"/>
                    <a:pt x="4720" y="4423"/>
                  </a:cubicBezTo>
                  <a:lnTo>
                    <a:pt x="4720" y="333"/>
                  </a:lnTo>
                  <a:cubicBezTo>
                    <a:pt x="4720" y="148"/>
                    <a:pt x="4572" y="0"/>
                    <a:pt x="43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2" name="Google Shape;672;p48"/>
            <p:cNvSpPr/>
            <p:nvPr/>
          </p:nvSpPr>
          <p:spPr>
            <a:xfrm>
              <a:off x="2921990" y="3212803"/>
              <a:ext cx="1104050" cy="1191534"/>
            </a:xfrm>
            <a:custGeom>
              <a:avLst/>
              <a:gdLst/>
              <a:ahLst/>
              <a:cxnLst/>
              <a:rect l="l" t="t" r="r" b="b"/>
              <a:pathLst>
                <a:path w="4733" h="5225" extrusionOk="0">
                  <a:moveTo>
                    <a:pt x="2367" y="0"/>
                  </a:moveTo>
                  <a:lnTo>
                    <a:pt x="2059" y="469"/>
                  </a:lnTo>
                  <a:lnTo>
                    <a:pt x="346" y="469"/>
                  </a:lnTo>
                  <a:cubicBezTo>
                    <a:pt x="161" y="469"/>
                    <a:pt x="1" y="616"/>
                    <a:pt x="1" y="801"/>
                  </a:cubicBezTo>
                  <a:lnTo>
                    <a:pt x="1" y="4892"/>
                  </a:lnTo>
                  <a:cubicBezTo>
                    <a:pt x="1" y="5077"/>
                    <a:pt x="161" y="5225"/>
                    <a:pt x="346" y="5225"/>
                  </a:cubicBezTo>
                  <a:lnTo>
                    <a:pt x="4400" y="5225"/>
                  </a:lnTo>
                  <a:cubicBezTo>
                    <a:pt x="4584" y="5225"/>
                    <a:pt x="4732" y="5077"/>
                    <a:pt x="4732" y="4892"/>
                  </a:cubicBezTo>
                  <a:lnTo>
                    <a:pt x="4732" y="801"/>
                  </a:lnTo>
                  <a:cubicBezTo>
                    <a:pt x="4732" y="616"/>
                    <a:pt x="4584" y="469"/>
                    <a:pt x="4400" y="469"/>
                  </a:cubicBezTo>
                  <a:lnTo>
                    <a:pt x="2687" y="469"/>
                  </a:lnTo>
                  <a:lnTo>
                    <a:pt x="23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3" name="Google Shape;673;p48"/>
            <p:cNvSpPr/>
            <p:nvPr/>
          </p:nvSpPr>
          <p:spPr>
            <a:xfrm>
              <a:off x="5000161" y="3212803"/>
              <a:ext cx="1103817" cy="1191534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2366" y="0"/>
                  </a:moveTo>
                  <a:lnTo>
                    <a:pt x="2058" y="469"/>
                  </a:lnTo>
                  <a:lnTo>
                    <a:pt x="358" y="469"/>
                  </a:lnTo>
                  <a:cubicBezTo>
                    <a:pt x="350" y="468"/>
                    <a:pt x="343" y="468"/>
                    <a:pt x="336" y="468"/>
                  </a:cubicBezTo>
                  <a:cubicBezTo>
                    <a:pt x="149" y="468"/>
                    <a:pt x="0" y="623"/>
                    <a:pt x="0" y="801"/>
                  </a:cubicBezTo>
                  <a:lnTo>
                    <a:pt x="0" y="4892"/>
                  </a:lnTo>
                  <a:cubicBezTo>
                    <a:pt x="0" y="5077"/>
                    <a:pt x="148" y="5225"/>
                    <a:pt x="333" y="5225"/>
                  </a:cubicBezTo>
                  <a:lnTo>
                    <a:pt x="4387" y="5225"/>
                  </a:lnTo>
                  <a:cubicBezTo>
                    <a:pt x="4572" y="5225"/>
                    <a:pt x="4732" y="5077"/>
                    <a:pt x="4732" y="4892"/>
                  </a:cubicBezTo>
                  <a:lnTo>
                    <a:pt x="4732" y="801"/>
                  </a:lnTo>
                  <a:cubicBezTo>
                    <a:pt x="4732" y="616"/>
                    <a:pt x="4572" y="469"/>
                    <a:pt x="4387" y="469"/>
                  </a:cubicBezTo>
                  <a:lnTo>
                    <a:pt x="2674" y="469"/>
                  </a:lnTo>
                  <a:lnTo>
                    <a:pt x="236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4" name="Google Shape;674;p48"/>
            <p:cNvSpPr/>
            <p:nvPr/>
          </p:nvSpPr>
          <p:spPr>
            <a:xfrm>
              <a:off x="6040529" y="1611245"/>
              <a:ext cx="1104050" cy="1191534"/>
            </a:xfrm>
            <a:custGeom>
              <a:avLst/>
              <a:gdLst/>
              <a:ahLst/>
              <a:cxnLst/>
              <a:rect l="l" t="t" r="r" b="b"/>
              <a:pathLst>
                <a:path w="4733" h="5225" extrusionOk="0">
                  <a:moveTo>
                    <a:pt x="346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46" y="4756"/>
                  </a:cubicBezTo>
                  <a:lnTo>
                    <a:pt x="2046" y="4756"/>
                  </a:lnTo>
                  <a:lnTo>
                    <a:pt x="2366" y="5224"/>
                  </a:lnTo>
                  <a:lnTo>
                    <a:pt x="2674" y="4756"/>
                  </a:lnTo>
                  <a:lnTo>
                    <a:pt x="4387" y="4756"/>
                  </a:lnTo>
                  <a:cubicBezTo>
                    <a:pt x="4394" y="4757"/>
                    <a:pt x="4400" y="4757"/>
                    <a:pt x="4407" y="4757"/>
                  </a:cubicBezTo>
                  <a:cubicBezTo>
                    <a:pt x="4583" y="4757"/>
                    <a:pt x="4732" y="4602"/>
                    <a:pt x="4732" y="4423"/>
                  </a:cubicBezTo>
                  <a:lnTo>
                    <a:pt x="4732" y="333"/>
                  </a:lnTo>
                  <a:cubicBezTo>
                    <a:pt x="4732" y="148"/>
                    <a:pt x="4572" y="0"/>
                    <a:pt x="43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5" name="Google Shape;675;p48"/>
            <p:cNvSpPr/>
            <p:nvPr/>
          </p:nvSpPr>
          <p:spPr>
            <a:xfrm>
              <a:off x="1976560" y="2983732"/>
              <a:ext cx="5259926" cy="48117"/>
            </a:xfrm>
            <a:custGeom>
              <a:avLst/>
              <a:gdLst/>
              <a:ahLst/>
              <a:cxnLst/>
              <a:rect l="l" t="t" r="r" b="b"/>
              <a:pathLst>
                <a:path w="22549" h="211" extrusionOk="0">
                  <a:moveTo>
                    <a:pt x="0" y="1"/>
                  </a:moveTo>
                  <a:lnTo>
                    <a:pt x="0" y="210"/>
                  </a:lnTo>
                  <a:lnTo>
                    <a:pt x="22548" y="210"/>
                  </a:lnTo>
                  <a:lnTo>
                    <a:pt x="22548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6" name="Google Shape;676;p48"/>
            <p:cNvSpPr/>
            <p:nvPr/>
          </p:nvSpPr>
          <p:spPr>
            <a:xfrm>
              <a:off x="2284006" y="2909504"/>
              <a:ext cx="267557" cy="224852"/>
            </a:xfrm>
            <a:custGeom>
              <a:avLst/>
              <a:gdLst/>
              <a:ahLst/>
              <a:cxnLst/>
              <a:rect l="l" t="t" r="r" b="b"/>
              <a:pathLst>
                <a:path w="1147" h="986" extrusionOk="0">
                  <a:moveTo>
                    <a:pt x="643" y="0"/>
                  </a:moveTo>
                  <a:cubicBezTo>
                    <a:pt x="525" y="0"/>
                    <a:pt x="406" y="42"/>
                    <a:pt x="309" y="135"/>
                  </a:cubicBezTo>
                  <a:cubicBezTo>
                    <a:pt x="1" y="443"/>
                    <a:pt x="210" y="973"/>
                    <a:pt x="654" y="985"/>
                  </a:cubicBezTo>
                  <a:cubicBezTo>
                    <a:pt x="925" y="985"/>
                    <a:pt x="1134" y="764"/>
                    <a:pt x="1146" y="492"/>
                  </a:cubicBezTo>
                  <a:cubicBezTo>
                    <a:pt x="1146" y="197"/>
                    <a:pt x="898" y="0"/>
                    <a:pt x="64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7" name="Google Shape;677;p48"/>
            <p:cNvSpPr/>
            <p:nvPr/>
          </p:nvSpPr>
          <p:spPr>
            <a:xfrm>
              <a:off x="3321575" y="2909732"/>
              <a:ext cx="267557" cy="224624"/>
            </a:xfrm>
            <a:custGeom>
              <a:avLst/>
              <a:gdLst/>
              <a:ahLst/>
              <a:cxnLst/>
              <a:rect l="l" t="t" r="r" b="b"/>
              <a:pathLst>
                <a:path w="1147" h="985" extrusionOk="0">
                  <a:moveTo>
                    <a:pt x="656" y="0"/>
                  </a:moveTo>
                  <a:cubicBezTo>
                    <a:pt x="534" y="0"/>
                    <a:pt x="409" y="46"/>
                    <a:pt x="309" y="146"/>
                  </a:cubicBezTo>
                  <a:cubicBezTo>
                    <a:pt x="1" y="454"/>
                    <a:pt x="222" y="984"/>
                    <a:pt x="654" y="984"/>
                  </a:cubicBezTo>
                  <a:cubicBezTo>
                    <a:pt x="925" y="984"/>
                    <a:pt x="1147" y="763"/>
                    <a:pt x="1147" y="491"/>
                  </a:cubicBezTo>
                  <a:cubicBezTo>
                    <a:pt x="1147" y="193"/>
                    <a:pt x="906" y="0"/>
                    <a:pt x="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8" name="Google Shape;678;p48"/>
            <p:cNvSpPr/>
            <p:nvPr/>
          </p:nvSpPr>
          <p:spPr>
            <a:xfrm>
              <a:off x="4359144" y="2909276"/>
              <a:ext cx="267557" cy="223940"/>
            </a:xfrm>
            <a:custGeom>
              <a:avLst/>
              <a:gdLst/>
              <a:ahLst/>
              <a:cxnLst/>
              <a:rect l="l" t="t" r="r" b="b"/>
              <a:pathLst>
                <a:path w="1147" h="982" extrusionOk="0">
                  <a:moveTo>
                    <a:pt x="666" y="1"/>
                  </a:moveTo>
                  <a:cubicBezTo>
                    <a:pt x="222" y="1"/>
                    <a:pt x="1" y="530"/>
                    <a:pt x="309" y="838"/>
                  </a:cubicBezTo>
                  <a:cubicBezTo>
                    <a:pt x="408" y="938"/>
                    <a:pt x="530" y="982"/>
                    <a:pt x="650" y="982"/>
                  </a:cubicBezTo>
                  <a:cubicBezTo>
                    <a:pt x="903" y="982"/>
                    <a:pt x="1147" y="786"/>
                    <a:pt x="1147" y="493"/>
                  </a:cubicBezTo>
                  <a:cubicBezTo>
                    <a:pt x="1147" y="222"/>
                    <a:pt x="925" y="1"/>
                    <a:pt x="66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9" name="Google Shape;679;p48"/>
            <p:cNvSpPr/>
            <p:nvPr/>
          </p:nvSpPr>
          <p:spPr>
            <a:xfrm>
              <a:off x="5399513" y="2909732"/>
              <a:ext cx="264757" cy="224624"/>
            </a:xfrm>
            <a:custGeom>
              <a:avLst/>
              <a:gdLst/>
              <a:ahLst/>
              <a:cxnLst/>
              <a:rect l="l" t="t" r="r" b="b"/>
              <a:pathLst>
                <a:path w="1135" h="985" extrusionOk="0">
                  <a:moveTo>
                    <a:pt x="653" y="0"/>
                  </a:moveTo>
                  <a:cubicBezTo>
                    <a:pt x="533" y="0"/>
                    <a:pt x="410" y="46"/>
                    <a:pt x="309" y="146"/>
                  </a:cubicBezTo>
                  <a:cubicBezTo>
                    <a:pt x="1" y="454"/>
                    <a:pt x="210" y="984"/>
                    <a:pt x="654" y="984"/>
                  </a:cubicBezTo>
                  <a:cubicBezTo>
                    <a:pt x="925" y="984"/>
                    <a:pt x="1135" y="763"/>
                    <a:pt x="1135" y="491"/>
                  </a:cubicBezTo>
                  <a:cubicBezTo>
                    <a:pt x="1135" y="193"/>
                    <a:pt x="900" y="0"/>
                    <a:pt x="65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0" name="Google Shape;680;p48"/>
            <p:cNvSpPr/>
            <p:nvPr/>
          </p:nvSpPr>
          <p:spPr>
            <a:xfrm>
              <a:off x="6474638" y="2909276"/>
              <a:ext cx="267557" cy="223940"/>
            </a:xfrm>
            <a:custGeom>
              <a:avLst/>
              <a:gdLst/>
              <a:ahLst/>
              <a:cxnLst/>
              <a:rect l="l" t="t" r="r" b="b"/>
              <a:pathLst>
                <a:path w="1147" h="982" extrusionOk="0">
                  <a:moveTo>
                    <a:pt x="493" y="1"/>
                  </a:moveTo>
                  <a:cubicBezTo>
                    <a:pt x="222" y="1"/>
                    <a:pt x="0" y="222"/>
                    <a:pt x="0" y="493"/>
                  </a:cubicBezTo>
                  <a:cubicBezTo>
                    <a:pt x="0" y="786"/>
                    <a:pt x="244" y="982"/>
                    <a:pt x="497" y="982"/>
                  </a:cubicBezTo>
                  <a:cubicBezTo>
                    <a:pt x="617" y="982"/>
                    <a:pt x="739" y="938"/>
                    <a:pt x="838" y="838"/>
                  </a:cubicBezTo>
                  <a:cubicBezTo>
                    <a:pt x="1146" y="530"/>
                    <a:pt x="924" y="1"/>
                    <a:pt x="493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81" name="Google Shape;681;p48"/>
          <p:cNvSpPr txBox="1">
            <a:spLocks noGrp="1"/>
          </p:cNvSpPr>
          <p:nvPr>
            <p:ph type="title"/>
          </p:nvPr>
        </p:nvSpPr>
        <p:spPr>
          <a:xfrm>
            <a:off x="377300" y="15151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Timeline (Other modules also available)</a:t>
            </a:r>
            <a:endParaRPr dirty="0"/>
          </a:p>
        </p:txBody>
      </p:sp>
      <p:sp>
        <p:nvSpPr>
          <p:cNvPr id="682" name="Google Shape;682;p48"/>
          <p:cNvSpPr txBox="1">
            <a:spLocks noGrp="1"/>
          </p:cNvSpPr>
          <p:nvPr>
            <p:ph type="body" idx="4294967295"/>
          </p:nvPr>
        </p:nvSpPr>
        <p:spPr>
          <a:xfrm>
            <a:off x="1907525" y="1860550"/>
            <a:ext cx="10995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3" name="Google Shape;683;p48"/>
          <p:cNvSpPr txBox="1">
            <a:spLocks noGrp="1"/>
          </p:cNvSpPr>
          <p:nvPr>
            <p:ph type="body" idx="4294967295"/>
          </p:nvPr>
        </p:nvSpPr>
        <p:spPr>
          <a:xfrm>
            <a:off x="2003525" y="1688925"/>
            <a:ext cx="854100" cy="23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1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84" name="Google Shape;684;p48"/>
          <p:cNvSpPr txBox="1">
            <a:spLocks noGrp="1"/>
          </p:cNvSpPr>
          <p:nvPr>
            <p:ph type="body" idx="4294967295"/>
          </p:nvPr>
        </p:nvSpPr>
        <p:spPr>
          <a:xfrm>
            <a:off x="3962475" y="1877725"/>
            <a:ext cx="1099500" cy="67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5" name="Google Shape;685;p48"/>
          <p:cNvSpPr txBox="1">
            <a:spLocks noGrp="1"/>
          </p:cNvSpPr>
          <p:nvPr>
            <p:ph type="body" idx="4294967295"/>
          </p:nvPr>
        </p:nvSpPr>
        <p:spPr>
          <a:xfrm>
            <a:off x="4095200" y="1688913"/>
            <a:ext cx="854100" cy="33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3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86" name="Google Shape;686;p48"/>
          <p:cNvSpPr txBox="1">
            <a:spLocks noGrp="1"/>
          </p:cNvSpPr>
          <p:nvPr>
            <p:ph type="body" idx="4294967295"/>
          </p:nvPr>
        </p:nvSpPr>
        <p:spPr>
          <a:xfrm>
            <a:off x="2942200" y="3623600"/>
            <a:ext cx="1057200" cy="67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7" name="Google Shape;687;p48"/>
          <p:cNvSpPr txBox="1">
            <a:spLocks noGrp="1"/>
          </p:cNvSpPr>
          <p:nvPr>
            <p:ph type="body" idx="4294967295"/>
          </p:nvPr>
        </p:nvSpPr>
        <p:spPr>
          <a:xfrm>
            <a:off x="3022675" y="3403413"/>
            <a:ext cx="854100" cy="33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2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88" name="Google Shape;688;p48"/>
          <p:cNvSpPr txBox="1">
            <a:spLocks noGrp="1"/>
          </p:cNvSpPr>
          <p:nvPr>
            <p:ph type="body" idx="4294967295"/>
          </p:nvPr>
        </p:nvSpPr>
        <p:spPr>
          <a:xfrm>
            <a:off x="4991100" y="3623600"/>
            <a:ext cx="1128300" cy="679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89" name="Google Shape;689;p48"/>
          <p:cNvSpPr txBox="1">
            <a:spLocks noGrp="1"/>
          </p:cNvSpPr>
          <p:nvPr>
            <p:ph type="body" idx="4294967295"/>
          </p:nvPr>
        </p:nvSpPr>
        <p:spPr>
          <a:xfrm>
            <a:off x="5140800" y="3403425"/>
            <a:ext cx="854100" cy="33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4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90" name="Google Shape;690;p48"/>
          <p:cNvSpPr txBox="1"/>
          <p:nvPr/>
        </p:nvSpPr>
        <p:spPr>
          <a:xfrm>
            <a:off x="5954025" y="1909100"/>
            <a:ext cx="1282500" cy="6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chemeClr val="dk1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691" name="Google Shape;691;p48"/>
          <p:cNvSpPr txBox="1"/>
          <p:nvPr/>
        </p:nvSpPr>
        <p:spPr>
          <a:xfrm>
            <a:off x="6186875" y="1688925"/>
            <a:ext cx="854100" cy="33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200">
                <a:solidFill>
                  <a:schemeClr val="dk1"/>
                </a:solidFill>
                <a:latin typeface="Ubuntu Medium"/>
                <a:ea typeface="Ubuntu Medium"/>
                <a:cs typeface="Ubuntu Medium"/>
                <a:sym typeface="Ubuntu Medium"/>
              </a:rPr>
              <a:t>DAY 5</a:t>
            </a:r>
            <a:endParaRPr sz="1200">
              <a:solidFill>
                <a:schemeClr val="dk1"/>
              </a:solidFill>
              <a:latin typeface="Ubuntu Medium"/>
              <a:ea typeface="Ubuntu Medium"/>
              <a:cs typeface="Ubuntu Medium"/>
              <a:sym typeface="Ubuntu Medium"/>
            </a:endParaRPr>
          </a:p>
        </p:txBody>
      </p:sp>
      <p:sp>
        <p:nvSpPr>
          <p:cNvPr id="692" name="Google Shape;692;p4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1</a:t>
            </a:fld>
            <a:endParaRPr dirty="0"/>
          </a:p>
        </p:txBody>
      </p:sp>
      <p:grpSp>
        <p:nvGrpSpPr>
          <p:cNvPr id="42" name="Stages_processing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98650" y="526075"/>
            <a:ext cx="904875" cy="542925"/>
            <a:chOff x="4813300" y="3749675"/>
            <a:chExt cx="1119188" cy="671513"/>
          </a:xfrm>
          <a:solidFill>
            <a:schemeClr val="accent1"/>
          </a:solidFill>
        </p:grpSpPr>
        <p:sp>
          <p:nvSpPr>
            <p:cNvPr id="43" name="Freeform 115"/>
            <p:cNvSpPr>
              <a:spLocks noEditPoints="1"/>
            </p:cNvSpPr>
            <p:nvPr/>
          </p:nvSpPr>
          <p:spPr bwMode="auto">
            <a:xfrm>
              <a:off x="4813300" y="3749675"/>
              <a:ext cx="331788" cy="671513"/>
            </a:xfrm>
            <a:custGeom>
              <a:avLst/>
              <a:gdLst>
                <a:gd name="T0" fmla="*/ 92 w 550"/>
                <a:gd name="T1" fmla="*/ 956 h 1116"/>
                <a:gd name="T2" fmla="*/ 275 w 550"/>
                <a:gd name="T3" fmla="*/ 956 h 1116"/>
                <a:gd name="T4" fmla="*/ 275 w 550"/>
                <a:gd name="T5" fmla="*/ 1006 h 1116"/>
                <a:gd name="T6" fmla="*/ 92 w 550"/>
                <a:gd name="T7" fmla="*/ 1006 h 1116"/>
                <a:gd name="T8" fmla="*/ 92 w 550"/>
                <a:gd name="T9" fmla="*/ 956 h 1116"/>
                <a:gd name="T10" fmla="*/ 92 w 550"/>
                <a:gd name="T11" fmla="*/ 822 h 1116"/>
                <a:gd name="T12" fmla="*/ 459 w 550"/>
                <a:gd name="T13" fmla="*/ 822 h 1116"/>
                <a:gd name="T14" fmla="*/ 459 w 550"/>
                <a:gd name="T15" fmla="*/ 872 h 1116"/>
                <a:gd name="T16" fmla="*/ 92 w 550"/>
                <a:gd name="T17" fmla="*/ 872 h 1116"/>
                <a:gd name="T18" fmla="*/ 92 w 550"/>
                <a:gd name="T19" fmla="*/ 822 h 1116"/>
                <a:gd name="T20" fmla="*/ 92 w 550"/>
                <a:gd name="T21" fmla="*/ 706 h 1116"/>
                <a:gd name="T22" fmla="*/ 459 w 550"/>
                <a:gd name="T23" fmla="*/ 706 h 1116"/>
                <a:gd name="T24" fmla="*/ 459 w 550"/>
                <a:gd name="T25" fmla="*/ 756 h 1116"/>
                <a:gd name="T26" fmla="*/ 92 w 550"/>
                <a:gd name="T27" fmla="*/ 756 h 1116"/>
                <a:gd name="T28" fmla="*/ 92 w 550"/>
                <a:gd name="T29" fmla="*/ 706 h 1116"/>
                <a:gd name="T30" fmla="*/ 92 w 550"/>
                <a:gd name="T31" fmla="*/ 589 h 1116"/>
                <a:gd name="T32" fmla="*/ 459 w 550"/>
                <a:gd name="T33" fmla="*/ 589 h 1116"/>
                <a:gd name="T34" fmla="*/ 459 w 550"/>
                <a:gd name="T35" fmla="*/ 639 h 1116"/>
                <a:gd name="T36" fmla="*/ 92 w 550"/>
                <a:gd name="T37" fmla="*/ 639 h 1116"/>
                <a:gd name="T38" fmla="*/ 92 w 550"/>
                <a:gd name="T39" fmla="*/ 589 h 1116"/>
                <a:gd name="T40" fmla="*/ 270 w 550"/>
                <a:gd name="T41" fmla="*/ 110 h 1116"/>
                <a:gd name="T42" fmla="*/ 332 w 550"/>
                <a:gd name="T43" fmla="*/ 110 h 1116"/>
                <a:gd name="T44" fmla="*/ 332 w 550"/>
                <a:gd name="T45" fmla="*/ 429 h 1116"/>
                <a:gd name="T46" fmla="*/ 260 w 550"/>
                <a:gd name="T47" fmla="*/ 429 h 1116"/>
                <a:gd name="T48" fmla="*/ 260 w 550"/>
                <a:gd name="T49" fmla="*/ 177 h 1116"/>
                <a:gd name="T50" fmla="*/ 259 w 550"/>
                <a:gd name="T51" fmla="*/ 177 h 1116"/>
                <a:gd name="T52" fmla="*/ 198 w 550"/>
                <a:gd name="T53" fmla="*/ 205 h 1116"/>
                <a:gd name="T54" fmla="*/ 186 w 550"/>
                <a:gd name="T55" fmla="*/ 150 h 1116"/>
                <a:gd name="T56" fmla="*/ 270 w 550"/>
                <a:gd name="T57" fmla="*/ 110 h 1116"/>
                <a:gd name="T58" fmla="*/ 0 w 550"/>
                <a:gd name="T59" fmla="*/ 1116 h 1116"/>
                <a:gd name="T60" fmla="*/ 550 w 550"/>
                <a:gd name="T61" fmla="*/ 1116 h 1116"/>
                <a:gd name="T62" fmla="*/ 550 w 550"/>
                <a:gd name="T63" fmla="*/ 0 h 1116"/>
                <a:gd name="T64" fmla="*/ 0 w 550"/>
                <a:gd name="T65" fmla="*/ 0 h 1116"/>
                <a:gd name="T66" fmla="*/ 0 w 550"/>
                <a:gd name="T67" fmla="*/ 1116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0" h="1116">
                  <a:moveTo>
                    <a:pt x="92" y="956"/>
                  </a:moveTo>
                  <a:lnTo>
                    <a:pt x="275" y="956"/>
                  </a:lnTo>
                  <a:lnTo>
                    <a:pt x="275" y="1006"/>
                  </a:lnTo>
                  <a:lnTo>
                    <a:pt x="92" y="1006"/>
                  </a:lnTo>
                  <a:lnTo>
                    <a:pt x="92" y="956"/>
                  </a:lnTo>
                  <a:close/>
                  <a:moveTo>
                    <a:pt x="92" y="822"/>
                  </a:moveTo>
                  <a:lnTo>
                    <a:pt x="459" y="822"/>
                  </a:lnTo>
                  <a:lnTo>
                    <a:pt x="459" y="872"/>
                  </a:lnTo>
                  <a:lnTo>
                    <a:pt x="92" y="872"/>
                  </a:lnTo>
                  <a:lnTo>
                    <a:pt x="92" y="822"/>
                  </a:lnTo>
                  <a:close/>
                  <a:moveTo>
                    <a:pt x="92" y="706"/>
                  </a:moveTo>
                  <a:lnTo>
                    <a:pt x="459" y="706"/>
                  </a:lnTo>
                  <a:lnTo>
                    <a:pt x="459" y="756"/>
                  </a:lnTo>
                  <a:lnTo>
                    <a:pt x="92" y="756"/>
                  </a:lnTo>
                  <a:lnTo>
                    <a:pt x="92" y="706"/>
                  </a:lnTo>
                  <a:close/>
                  <a:moveTo>
                    <a:pt x="92" y="589"/>
                  </a:moveTo>
                  <a:lnTo>
                    <a:pt x="459" y="589"/>
                  </a:lnTo>
                  <a:lnTo>
                    <a:pt x="459" y="639"/>
                  </a:lnTo>
                  <a:lnTo>
                    <a:pt x="92" y="639"/>
                  </a:lnTo>
                  <a:lnTo>
                    <a:pt x="92" y="589"/>
                  </a:lnTo>
                  <a:close/>
                  <a:moveTo>
                    <a:pt x="270" y="110"/>
                  </a:moveTo>
                  <a:lnTo>
                    <a:pt x="332" y="110"/>
                  </a:lnTo>
                  <a:lnTo>
                    <a:pt x="332" y="429"/>
                  </a:lnTo>
                  <a:lnTo>
                    <a:pt x="260" y="429"/>
                  </a:lnTo>
                  <a:lnTo>
                    <a:pt x="260" y="177"/>
                  </a:lnTo>
                  <a:lnTo>
                    <a:pt x="259" y="177"/>
                  </a:lnTo>
                  <a:lnTo>
                    <a:pt x="198" y="205"/>
                  </a:lnTo>
                  <a:lnTo>
                    <a:pt x="186" y="150"/>
                  </a:lnTo>
                  <a:lnTo>
                    <a:pt x="270" y="110"/>
                  </a:lnTo>
                  <a:close/>
                  <a:moveTo>
                    <a:pt x="0" y="1116"/>
                  </a:moveTo>
                  <a:lnTo>
                    <a:pt x="550" y="1116"/>
                  </a:lnTo>
                  <a:lnTo>
                    <a:pt x="550" y="0"/>
                  </a:lnTo>
                  <a:lnTo>
                    <a:pt x="0" y="0"/>
                  </a:lnTo>
                  <a:lnTo>
                    <a:pt x="0" y="111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6"/>
            <p:cNvSpPr>
              <a:spLocks noEditPoints="1"/>
            </p:cNvSpPr>
            <p:nvPr/>
          </p:nvSpPr>
          <p:spPr bwMode="auto">
            <a:xfrm>
              <a:off x="5210175" y="3749675"/>
              <a:ext cx="331788" cy="671513"/>
            </a:xfrm>
            <a:custGeom>
              <a:avLst/>
              <a:gdLst>
                <a:gd name="T0" fmla="*/ 83 w 550"/>
                <a:gd name="T1" fmla="*/ 822 h 1116"/>
                <a:gd name="T2" fmla="*/ 338 w 550"/>
                <a:gd name="T3" fmla="*/ 822 h 1116"/>
                <a:gd name="T4" fmla="*/ 338 w 550"/>
                <a:gd name="T5" fmla="*/ 872 h 1116"/>
                <a:gd name="T6" fmla="*/ 83 w 550"/>
                <a:gd name="T7" fmla="*/ 872 h 1116"/>
                <a:gd name="T8" fmla="*/ 83 w 550"/>
                <a:gd name="T9" fmla="*/ 822 h 1116"/>
                <a:gd name="T10" fmla="*/ 83 w 550"/>
                <a:gd name="T11" fmla="*/ 706 h 1116"/>
                <a:gd name="T12" fmla="*/ 450 w 550"/>
                <a:gd name="T13" fmla="*/ 706 h 1116"/>
                <a:gd name="T14" fmla="*/ 450 w 550"/>
                <a:gd name="T15" fmla="*/ 756 h 1116"/>
                <a:gd name="T16" fmla="*/ 83 w 550"/>
                <a:gd name="T17" fmla="*/ 756 h 1116"/>
                <a:gd name="T18" fmla="*/ 83 w 550"/>
                <a:gd name="T19" fmla="*/ 706 h 1116"/>
                <a:gd name="T20" fmla="*/ 83 w 550"/>
                <a:gd name="T21" fmla="*/ 589 h 1116"/>
                <a:gd name="T22" fmla="*/ 450 w 550"/>
                <a:gd name="T23" fmla="*/ 589 h 1116"/>
                <a:gd name="T24" fmla="*/ 450 w 550"/>
                <a:gd name="T25" fmla="*/ 639 h 1116"/>
                <a:gd name="T26" fmla="*/ 83 w 550"/>
                <a:gd name="T27" fmla="*/ 639 h 1116"/>
                <a:gd name="T28" fmla="*/ 83 w 550"/>
                <a:gd name="T29" fmla="*/ 589 h 1116"/>
                <a:gd name="T30" fmla="*/ 163 w 550"/>
                <a:gd name="T31" fmla="*/ 386 h 1116"/>
                <a:gd name="T32" fmla="*/ 205 w 550"/>
                <a:gd name="T33" fmla="*/ 349 h 1116"/>
                <a:gd name="T34" fmla="*/ 309 w 550"/>
                <a:gd name="T35" fmla="*/ 214 h 1116"/>
                <a:gd name="T36" fmla="*/ 256 w 550"/>
                <a:gd name="T37" fmla="*/ 167 h 1116"/>
                <a:gd name="T38" fmla="*/ 188 w 550"/>
                <a:gd name="T39" fmla="*/ 194 h 1116"/>
                <a:gd name="T40" fmla="*/ 167 w 550"/>
                <a:gd name="T41" fmla="*/ 141 h 1116"/>
                <a:gd name="T42" fmla="*/ 272 w 550"/>
                <a:gd name="T43" fmla="*/ 108 h 1116"/>
                <a:gd name="T44" fmla="*/ 383 w 550"/>
                <a:gd name="T45" fmla="*/ 208 h 1116"/>
                <a:gd name="T46" fmla="*/ 299 w 550"/>
                <a:gd name="T47" fmla="*/ 345 h 1116"/>
                <a:gd name="T48" fmla="*/ 269 w 550"/>
                <a:gd name="T49" fmla="*/ 369 h 1116"/>
                <a:gd name="T50" fmla="*/ 269 w 550"/>
                <a:gd name="T51" fmla="*/ 370 h 1116"/>
                <a:gd name="T52" fmla="*/ 389 w 550"/>
                <a:gd name="T53" fmla="*/ 370 h 1116"/>
                <a:gd name="T54" fmla="*/ 389 w 550"/>
                <a:gd name="T55" fmla="*/ 431 h 1116"/>
                <a:gd name="T56" fmla="*/ 163 w 550"/>
                <a:gd name="T57" fmla="*/ 431 h 1116"/>
                <a:gd name="T58" fmla="*/ 163 w 550"/>
                <a:gd name="T59" fmla="*/ 386 h 1116"/>
                <a:gd name="T60" fmla="*/ 0 w 550"/>
                <a:gd name="T61" fmla="*/ 1116 h 1116"/>
                <a:gd name="T62" fmla="*/ 550 w 550"/>
                <a:gd name="T63" fmla="*/ 1116 h 1116"/>
                <a:gd name="T64" fmla="*/ 550 w 550"/>
                <a:gd name="T65" fmla="*/ 0 h 1116"/>
                <a:gd name="T66" fmla="*/ 0 w 550"/>
                <a:gd name="T67" fmla="*/ 0 h 1116"/>
                <a:gd name="T68" fmla="*/ 0 w 550"/>
                <a:gd name="T69" fmla="*/ 1116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0" h="1116">
                  <a:moveTo>
                    <a:pt x="83" y="822"/>
                  </a:moveTo>
                  <a:lnTo>
                    <a:pt x="338" y="822"/>
                  </a:lnTo>
                  <a:lnTo>
                    <a:pt x="338" y="872"/>
                  </a:lnTo>
                  <a:lnTo>
                    <a:pt x="83" y="872"/>
                  </a:lnTo>
                  <a:lnTo>
                    <a:pt x="83" y="822"/>
                  </a:lnTo>
                  <a:close/>
                  <a:moveTo>
                    <a:pt x="83" y="706"/>
                  </a:moveTo>
                  <a:lnTo>
                    <a:pt x="450" y="706"/>
                  </a:lnTo>
                  <a:lnTo>
                    <a:pt x="450" y="756"/>
                  </a:lnTo>
                  <a:lnTo>
                    <a:pt x="83" y="756"/>
                  </a:lnTo>
                  <a:lnTo>
                    <a:pt x="83" y="706"/>
                  </a:lnTo>
                  <a:close/>
                  <a:moveTo>
                    <a:pt x="83" y="589"/>
                  </a:moveTo>
                  <a:lnTo>
                    <a:pt x="450" y="589"/>
                  </a:lnTo>
                  <a:lnTo>
                    <a:pt x="450" y="639"/>
                  </a:lnTo>
                  <a:lnTo>
                    <a:pt x="83" y="639"/>
                  </a:lnTo>
                  <a:lnTo>
                    <a:pt x="83" y="589"/>
                  </a:lnTo>
                  <a:close/>
                  <a:moveTo>
                    <a:pt x="163" y="386"/>
                  </a:moveTo>
                  <a:lnTo>
                    <a:pt x="205" y="349"/>
                  </a:lnTo>
                  <a:cubicBezTo>
                    <a:pt x="274" y="287"/>
                    <a:pt x="308" y="251"/>
                    <a:pt x="309" y="214"/>
                  </a:cubicBezTo>
                  <a:cubicBezTo>
                    <a:pt x="309" y="188"/>
                    <a:pt x="293" y="167"/>
                    <a:pt x="256" y="167"/>
                  </a:cubicBezTo>
                  <a:cubicBezTo>
                    <a:pt x="229" y="167"/>
                    <a:pt x="205" y="181"/>
                    <a:pt x="188" y="194"/>
                  </a:cubicBezTo>
                  <a:lnTo>
                    <a:pt x="167" y="141"/>
                  </a:lnTo>
                  <a:cubicBezTo>
                    <a:pt x="191" y="122"/>
                    <a:pt x="229" y="108"/>
                    <a:pt x="272" y="108"/>
                  </a:cubicBezTo>
                  <a:cubicBezTo>
                    <a:pt x="344" y="108"/>
                    <a:pt x="383" y="150"/>
                    <a:pt x="383" y="208"/>
                  </a:cubicBezTo>
                  <a:cubicBezTo>
                    <a:pt x="383" y="261"/>
                    <a:pt x="345" y="304"/>
                    <a:pt x="299" y="345"/>
                  </a:cubicBezTo>
                  <a:lnTo>
                    <a:pt x="269" y="369"/>
                  </a:lnTo>
                  <a:lnTo>
                    <a:pt x="269" y="370"/>
                  </a:lnTo>
                  <a:lnTo>
                    <a:pt x="389" y="370"/>
                  </a:lnTo>
                  <a:lnTo>
                    <a:pt x="389" y="431"/>
                  </a:lnTo>
                  <a:lnTo>
                    <a:pt x="163" y="431"/>
                  </a:lnTo>
                  <a:lnTo>
                    <a:pt x="163" y="386"/>
                  </a:lnTo>
                  <a:close/>
                  <a:moveTo>
                    <a:pt x="0" y="1116"/>
                  </a:moveTo>
                  <a:lnTo>
                    <a:pt x="550" y="1116"/>
                  </a:lnTo>
                  <a:lnTo>
                    <a:pt x="550" y="0"/>
                  </a:lnTo>
                  <a:lnTo>
                    <a:pt x="0" y="0"/>
                  </a:lnTo>
                  <a:lnTo>
                    <a:pt x="0" y="111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7"/>
            <p:cNvSpPr>
              <a:spLocks noEditPoints="1"/>
            </p:cNvSpPr>
            <p:nvPr/>
          </p:nvSpPr>
          <p:spPr bwMode="auto">
            <a:xfrm>
              <a:off x="5602288" y="3749675"/>
              <a:ext cx="330200" cy="671513"/>
            </a:xfrm>
            <a:custGeom>
              <a:avLst/>
              <a:gdLst>
                <a:gd name="T0" fmla="*/ 450 w 550"/>
                <a:gd name="T1" fmla="*/ 639 h 1116"/>
                <a:gd name="T2" fmla="*/ 83 w 550"/>
                <a:gd name="T3" fmla="*/ 639 h 1116"/>
                <a:gd name="T4" fmla="*/ 83 w 550"/>
                <a:gd name="T5" fmla="*/ 589 h 1116"/>
                <a:gd name="T6" fmla="*/ 450 w 550"/>
                <a:gd name="T7" fmla="*/ 589 h 1116"/>
                <a:gd name="T8" fmla="*/ 450 w 550"/>
                <a:gd name="T9" fmla="*/ 639 h 1116"/>
                <a:gd name="T10" fmla="*/ 450 w 550"/>
                <a:gd name="T11" fmla="*/ 756 h 1116"/>
                <a:gd name="T12" fmla="*/ 83 w 550"/>
                <a:gd name="T13" fmla="*/ 756 h 1116"/>
                <a:gd name="T14" fmla="*/ 83 w 550"/>
                <a:gd name="T15" fmla="*/ 706 h 1116"/>
                <a:gd name="T16" fmla="*/ 450 w 550"/>
                <a:gd name="T17" fmla="*/ 706 h 1116"/>
                <a:gd name="T18" fmla="*/ 450 w 550"/>
                <a:gd name="T19" fmla="*/ 756 h 1116"/>
                <a:gd name="T20" fmla="*/ 450 w 550"/>
                <a:gd name="T21" fmla="*/ 872 h 1116"/>
                <a:gd name="T22" fmla="*/ 83 w 550"/>
                <a:gd name="T23" fmla="*/ 872 h 1116"/>
                <a:gd name="T24" fmla="*/ 83 w 550"/>
                <a:gd name="T25" fmla="*/ 822 h 1116"/>
                <a:gd name="T26" fmla="*/ 450 w 550"/>
                <a:gd name="T27" fmla="*/ 822 h 1116"/>
                <a:gd name="T28" fmla="*/ 450 w 550"/>
                <a:gd name="T29" fmla="*/ 872 h 1116"/>
                <a:gd name="T30" fmla="*/ 450 w 550"/>
                <a:gd name="T31" fmla="*/ 1006 h 1116"/>
                <a:gd name="T32" fmla="*/ 83 w 550"/>
                <a:gd name="T33" fmla="*/ 1006 h 1116"/>
                <a:gd name="T34" fmla="*/ 83 w 550"/>
                <a:gd name="T35" fmla="*/ 956 h 1116"/>
                <a:gd name="T36" fmla="*/ 450 w 550"/>
                <a:gd name="T37" fmla="*/ 956 h 1116"/>
                <a:gd name="T38" fmla="*/ 450 w 550"/>
                <a:gd name="T39" fmla="*/ 1006 h 1116"/>
                <a:gd name="T40" fmla="*/ 229 w 550"/>
                <a:gd name="T41" fmla="*/ 287 h 1116"/>
                <a:gd name="T42" fmla="*/ 199 w 550"/>
                <a:gd name="T43" fmla="*/ 287 h 1116"/>
                <a:gd name="T44" fmla="*/ 199 w 550"/>
                <a:gd name="T45" fmla="*/ 234 h 1116"/>
                <a:gd name="T46" fmla="*/ 227 w 550"/>
                <a:gd name="T47" fmla="*/ 234 h 1116"/>
                <a:gd name="T48" fmla="*/ 284 w 550"/>
                <a:gd name="T49" fmla="*/ 197 h 1116"/>
                <a:gd name="T50" fmla="*/ 237 w 550"/>
                <a:gd name="T51" fmla="*/ 164 h 1116"/>
                <a:gd name="T52" fmla="*/ 171 w 550"/>
                <a:gd name="T53" fmla="*/ 183 h 1116"/>
                <a:gd name="T54" fmla="*/ 156 w 550"/>
                <a:gd name="T55" fmla="*/ 129 h 1116"/>
                <a:gd name="T56" fmla="*/ 254 w 550"/>
                <a:gd name="T57" fmla="*/ 105 h 1116"/>
                <a:gd name="T58" fmla="*/ 360 w 550"/>
                <a:gd name="T59" fmla="*/ 184 h 1116"/>
                <a:gd name="T60" fmla="*/ 301 w 550"/>
                <a:gd name="T61" fmla="*/ 258 h 1116"/>
                <a:gd name="T62" fmla="*/ 301 w 550"/>
                <a:gd name="T63" fmla="*/ 259 h 1116"/>
                <a:gd name="T64" fmla="*/ 370 w 550"/>
                <a:gd name="T65" fmla="*/ 337 h 1116"/>
                <a:gd name="T66" fmla="*/ 240 w 550"/>
                <a:gd name="T67" fmla="*/ 434 h 1116"/>
                <a:gd name="T68" fmla="*/ 146 w 550"/>
                <a:gd name="T69" fmla="*/ 412 h 1116"/>
                <a:gd name="T70" fmla="*/ 161 w 550"/>
                <a:gd name="T71" fmla="*/ 356 h 1116"/>
                <a:gd name="T72" fmla="*/ 235 w 550"/>
                <a:gd name="T73" fmla="*/ 375 h 1116"/>
                <a:gd name="T74" fmla="*/ 293 w 550"/>
                <a:gd name="T75" fmla="*/ 333 h 1116"/>
                <a:gd name="T76" fmla="*/ 229 w 550"/>
                <a:gd name="T77" fmla="*/ 287 h 1116"/>
                <a:gd name="T78" fmla="*/ 0 w 550"/>
                <a:gd name="T79" fmla="*/ 0 h 1116"/>
                <a:gd name="T80" fmla="*/ 0 w 550"/>
                <a:gd name="T81" fmla="*/ 1116 h 1116"/>
                <a:gd name="T82" fmla="*/ 550 w 550"/>
                <a:gd name="T83" fmla="*/ 1116 h 1116"/>
                <a:gd name="T84" fmla="*/ 550 w 550"/>
                <a:gd name="T85" fmla="*/ 0 h 1116"/>
                <a:gd name="T86" fmla="*/ 0 w 550"/>
                <a:gd name="T87" fmla="*/ 0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50" h="1116">
                  <a:moveTo>
                    <a:pt x="450" y="639"/>
                  </a:moveTo>
                  <a:lnTo>
                    <a:pt x="83" y="639"/>
                  </a:lnTo>
                  <a:lnTo>
                    <a:pt x="83" y="589"/>
                  </a:lnTo>
                  <a:lnTo>
                    <a:pt x="450" y="589"/>
                  </a:lnTo>
                  <a:lnTo>
                    <a:pt x="450" y="639"/>
                  </a:lnTo>
                  <a:close/>
                  <a:moveTo>
                    <a:pt x="450" y="756"/>
                  </a:moveTo>
                  <a:lnTo>
                    <a:pt x="83" y="756"/>
                  </a:lnTo>
                  <a:lnTo>
                    <a:pt x="83" y="706"/>
                  </a:lnTo>
                  <a:lnTo>
                    <a:pt x="450" y="706"/>
                  </a:lnTo>
                  <a:lnTo>
                    <a:pt x="450" y="756"/>
                  </a:lnTo>
                  <a:close/>
                  <a:moveTo>
                    <a:pt x="450" y="872"/>
                  </a:moveTo>
                  <a:lnTo>
                    <a:pt x="83" y="872"/>
                  </a:lnTo>
                  <a:lnTo>
                    <a:pt x="83" y="822"/>
                  </a:lnTo>
                  <a:lnTo>
                    <a:pt x="450" y="822"/>
                  </a:lnTo>
                  <a:lnTo>
                    <a:pt x="450" y="872"/>
                  </a:lnTo>
                  <a:close/>
                  <a:moveTo>
                    <a:pt x="450" y="1006"/>
                  </a:moveTo>
                  <a:lnTo>
                    <a:pt x="83" y="1006"/>
                  </a:lnTo>
                  <a:lnTo>
                    <a:pt x="83" y="956"/>
                  </a:lnTo>
                  <a:lnTo>
                    <a:pt x="450" y="956"/>
                  </a:lnTo>
                  <a:lnTo>
                    <a:pt x="450" y="1006"/>
                  </a:lnTo>
                  <a:close/>
                  <a:moveTo>
                    <a:pt x="229" y="287"/>
                  </a:moveTo>
                  <a:lnTo>
                    <a:pt x="199" y="287"/>
                  </a:lnTo>
                  <a:lnTo>
                    <a:pt x="199" y="234"/>
                  </a:lnTo>
                  <a:lnTo>
                    <a:pt x="227" y="234"/>
                  </a:lnTo>
                  <a:cubicBezTo>
                    <a:pt x="252" y="233"/>
                    <a:pt x="284" y="224"/>
                    <a:pt x="284" y="197"/>
                  </a:cubicBezTo>
                  <a:cubicBezTo>
                    <a:pt x="284" y="178"/>
                    <a:pt x="269" y="164"/>
                    <a:pt x="237" y="164"/>
                  </a:cubicBezTo>
                  <a:cubicBezTo>
                    <a:pt x="211" y="164"/>
                    <a:pt x="184" y="175"/>
                    <a:pt x="171" y="183"/>
                  </a:cubicBezTo>
                  <a:lnTo>
                    <a:pt x="156" y="129"/>
                  </a:lnTo>
                  <a:cubicBezTo>
                    <a:pt x="175" y="117"/>
                    <a:pt x="213" y="105"/>
                    <a:pt x="254" y="105"/>
                  </a:cubicBezTo>
                  <a:cubicBezTo>
                    <a:pt x="322" y="105"/>
                    <a:pt x="360" y="141"/>
                    <a:pt x="360" y="184"/>
                  </a:cubicBezTo>
                  <a:cubicBezTo>
                    <a:pt x="360" y="218"/>
                    <a:pt x="341" y="245"/>
                    <a:pt x="301" y="258"/>
                  </a:cubicBezTo>
                  <a:lnTo>
                    <a:pt x="301" y="259"/>
                  </a:lnTo>
                  <a:cubicBezTo>
                    <a:pt x="340" y="266"/>
                    <a:pt x="370" y="295"/>
                    <a:pt x="370" y="337"/>
                  </a:cubicBezTo>
                  <a:cubicBezTo>
                    <a:pt x="370" y="393"/>
                    <a:pt x="321" y="434"/>
                    <a:pt x="240" y="434"/>
                  </a:cubicBezTo>
                  <a:cubicBezTo>
                    <a:pt x="199" y="434"/>
                    <a:pt x="164" y="423"/>
                    <a:pt x="146" y="412"/>
                  </a:cubicBezTo>
                  <a:lnTo>
                    <a:pt x="161" y="356"/>
                  </a:lnTo>
                  <a:cubicBezTo>
                    <a:pt x="174" y="363"/>
                    <a:pt x="204" y="375"/>
                    <a:pt x="235" y="375"/>
                  </a:cubicBezTo>
                  <a:cubicBezTo>
                    <a:pt x="273" y="375"/>
                    <a:pt x="293" y="357"/>
                    <a:pt x="293" y="333"/>
                  </a:cubicBezTo>
                  <a:cubicBezTo>
                    <a:pt x="293" y="301"/>
                    <a:pt x="262" y="287"/>
                    <a:pt x="229" y="287"/>
                  </a:cubicBezTo>
                  <a:close/>
                  <a:moveTo>
                    <a:pt x="0" y="0"/>
                  </a:moveTo>
                  <a:lnTo>
                    <a:pt x="0" y="1116"/>
                  </a:lnTo>
                  <a:lnTo>
                    <a:pt x="550" y="1116"/>
                  </a:lnTo>
                  <a:lnTo>
                    <a:pt x="55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23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 idx="2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First on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ctrTitle" idx="3"/>
          </p:nvPr>
        </p:nvSpPr>
        <p:spPr/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r>
              <a:rPr lang="en-US" dirty="0" smtClean="0"/>
              <a:t>Second 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 idx="5"/>
          </p:nvPr>
        </p:nvSpPr>
        <p:spPr/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6"/>
          </p:nvPr>
        </p:nvSpPr>
        <p:spPr/>
        <p:txBody>
          <a:bodyPr/>
          <a:lstStyle/>
          <a:p>
            <a:r>
              <a:rPr lang="en-US" dirty="0" smtClean="0"/>
              <a:t>Third on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2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20375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44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2400" dirty="0"/>
              <a:t>Infographics </a:t>
            </a:r>
            <a:r>
              <a:rPr lang="es" sz="2400" dirty="0" smtClean="0"/>
              <a:t>…</a:t>
            </a:r>
            <a:endParaRPr sz="2400" dirty="0"/>
          </a:p>
        </p:txBody>
      </p:sp>
      <p:sp>
        <p:nvSpPr>
          <p:cNvPr id="311" name="Google Shape;311;p4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3</a:t>
            </a:fld>
            <a:endParaRPr/>
          </a:p>
        </p:txBody>
      </p:sp>
      <p:sp>
        <p:nvSpPr>
          <p:cNvPr id="312" name="Google Shape;312;p44"/>
          <p:cNvSpPr txBox="1"/>
          <p:nvPr/>
        </p:nvSpPr>
        <p:spPr>
          <a:xfrm>
            <a:off x="998300" y="2705600"/>
            <a:ext cx="2073600" cy="70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 b="1">
                <a:solidFill>
                  <a:schemeClr val="dk2"/>
                </a:solidFill>
                <a:latin typeface="Ubuntu"/>
                <a:ea typeface="Ubuntu"/>
                <a:cs typeface="Ubuntu"/>
                <a:sym typeface="Ubuntu"/>
              </a:rPr>
              <a:t>JUPITER</a:t>
            </a:r>
            <a:endParaRPr sz="1000" b="1">
              <a:solidFill>
                <a:schemeClr val="dk2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rPr>
              <a:t>It’s a gas giant and the biggest planet in our Solar System</a:t>
            </a: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313" name="Google Shape;313;p44"/>
          <p:cNvSpPr txBox="1"/>
          <p:nvPr/>
        </p:nvSpPr>
        <p:spPr>
          <a:xfrm>
            <a:off x="5524450" y="1951825"/>
            <a:ext cx="1748100" cy="7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 b="1">
                <a:solidFill>
                  <a:schemeClr val="dk2"/>
                </a:solidFill>
                <a:latin typeface="Ubuntu"/>
                <a:ea typeface="Ubuntu"/>
                <a:cs typeface="Ubuntu"/>
                <a:sym typeface="Ubuntu"/>
              </a:rPr>
              <a:t>MARS</a:t>
            </a:r>
            <a:endParaRPr sz="1000" b="1">
              <a:solidFill>
                <a:schemeClr val="dk2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rPr>
              <a:t>Despite being red, Mars is a cold place, not hot</a:t>
            </a: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sp>
        <p:nvSpPr>
          <p:cNvPr id="314" name="Google Shape;314;p44"/>
          <p:cNvSpPr txBox="1"/>
          <p:nvPr/>
        </p:nvSpPr>
        <p:spPr>
          <a:xfrm>
            <a:off x="5524450" y="3227275"/>
            <a:ext cx="1839300" cy="10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 b="1">
                <a:solidFill>
                  <a:schemeClr val="dk2"/>
                </a:solidFill>
                <a:latin typeface="Ubuntu"/>
                <a:ea typeface="Ubuntu"/>
                <a:cs typeface="Ubuntu"/>
                <a:sym typeface="Ubuntu"/>
              </a:rPr>
              <a:t>VENUS</a:t>
            </a:r>
            <a:endParaRPr sz="1000" b="1">
              <a:solidFill>
                <a:schemeClr val="dk2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rPr>
              <a:t>Venus has a beautiful name, but it’s terribly hot</a:t>
            </a:r>
            <a:endParaRPr sz="1000">
              <a:solidFill>
                <a:schemeClr val="lt2"/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grpSp>
        <p:nvGrpSpPr>
          <p:cNvPr id="315" name="Google Shape;315;p44"/>
          <p:cNvGrpSpPr/>
          <p:nvPr/>
        </p:nvGrpSpPr>
        <p:grpSpPr>
          <a:xfrm>
            <a:off x="4132675" y="1951813"/>
            <a:ext cx="1356907" cy="1023304"/>
            <a:chOff x="4132675" y="1951813"/>
            <a:chExt cx="1356907" cy="1023304"/>
          </a:xfrm>
        </p:grpSpPr>
        <p:sp>
          <p:nvSpPr>
            <p:cNvPr id="316" name="Google Shape;316;p44"/>
            <p:cNvSpPr/>
            <p:nvPr/>
          </p:nvSpPr>
          <p:spPr>
            <a:xfrm>
              <a:off x="4188008" y="1952264"/>
              <a:ext cx="1243078" cy="1022852"/>
            </a:xfrm>
            <a:custGeom>
              <a:avLst/>
              <a:gdLst/>
              <a:ahLst/>
              <a:cxnLst/>
              <a:rect l="l" t="t" r="r" b="b"/>
              <a:pathLst>
                <a:path w="5504" h="4529" extrusionOk="0">
                  <a:moveTo>
                    <a:pt x="2759" y="1"/>
                  </a:moveTo>
                  <a:cubicBezTo>
                    <a:pt x="2058" y="1"/>
                    <a:pt x="1356" y="154"/>
                    <a:pt x="822" y="460"/>
                  </a:cubicBezTo>
                  <a:cubicBezTo>
                    <a:pt x="267" y="778"/>
                    <a:pt x="0" y="1203"/>
                    <a:pt x="22" y="1622"/>
                  </a:cubicBezTo>
                  <a:lnTo>
                    <a:pt x="22" y="2285"/>
                  </a:lnTo>
                  <a:cubicBezTo>
                    <a:pt x="22" y="2696"/>
                    <a:pt x="289" y="3100"/>
                    <a:pt x="822" y="3410"/>
                  </a:cubicBezTo>
                  <a:lnTo>
                    <a:pt x="2763" y="4528"/>
                  </a:lnTo>
                  <a:lnTo>
                    <a:pt x="4696" y="3410"/>
                  </a:lnTo>
                  <a:cubicBezTo>
                    <a:pt x="5236" y="3100"/>
                    <a:pt x="5503" y="2689"/>
                    <a:pt x="5496" y="2285"/>
                  </a:cubicBezTo>
                  <a:lnTo>
                    <a:pt x="5496" y="1578"/>
                  </a:lnTo>
                  <a:cubicBezTo>
                    <a:pt x="5496" y="1175"/>
                    <a:pt x="5229" y="771"/>
                    <a:pt x="4696" y="460"/>
                  </a:cubicBezTo>
                  <a:cubicBezTo>
                    <a:pt x="4162" y="154"/>
                    <a:pt x="3460" y="1"/>
                    <a:pt x="27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44"/>
            <p:cNvSpPr/>
            <p:nvPr/>
          </p:nvSpPr>
          <p:spPr>
            <a:xfrm>
              <a:off x="4811806" y="1951813"/>
              <a:ext cx="619281" cy="1023304"/>
            </a:xfrm>
            <a:custGeom>
              <a:avLst/>
              <a:gdLst/>
              <a:ahLst/>
              <a:cxnLst/>
              <a:rect l="l" t="t" r="r" b="b"/>
              <a:pathLst>
                <a:path w="2742" h="4531" extrusionOk="0">
                  <a:moveTo>
                    <a:pt x="1" y="1"/>
                  </a:moveTo>
                  <a:lnTo>
                    <a:pt x="1" y="4530"/>
                  </a:lnTo>
                  <a:lnTo>
                    <a:pt x="1934" y="3412"/>
                  </a:lnTo>
                  <a:cubicBezTo>
                    <a:pt x="2467" y="3102"/>
                    <a:pt x="2741" y="2698"/>
                    <a:pt x="2734" y="2287"/>
                  </a:cubicBezTo>
                  <a:lnTo>
                    <a:pt x="2734" y="1580"/>
                  </a:lnTo>
                  <a:cubicBezTo>
                    <a:pt x="2734" y="1177"/>
                    <a:pt x="2467" y="773"/>
                    <a:pt x="1934" y="462"/>
                  </a:cubicBezTo>
                  <a:cubicBezTo>
                    <a:pt x="1400" y="160"/>
                    <a:pt x="700" y="1"/>
                    <a:pt x="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44"/>
            <p:cNvSpPr/>
            <p:nvPr/>
          </p:nvSpPr>
          <p:spPr>
            <a:xfrm>
              <a:off x="4132675" y="1952264"/>
              <a:ext cx="1356907" cy="861599"/>
            </a:xfrm>
            <a:custGeom>
              <a:avLst/>
              <a:gdLst/>
              <a:ahLst/>
              <a:cxnLst/>
              <a:rect l="l" t="t" r="r" b="b"/>
              <a:pathLst>
                <a:path w="6008" h="3815" extrusionOk="0">
                  <a:moveTo>
                    <a:pt x="3004" y="1"/>
                  </a:moveTo>
                  <a:cubicBezTo>
                    <a:pt x="2303" y="1"/>
                    <a:pt x="1601" y="154"/>
                    <a:pt x="1067" y="460"/>
                  </a:cubicBezTo>
                  <a:cubicBezTo>
                    <a:pt x="0" y="1081"/>
                    <a:pt x="0" y="2083"/>
                    <a:pt x="1067" y="2696"/>
                  </a:cubicBezTo>
                  <a:lnTo>
                    <a:pt x="3008" y="3814"/>
                  </a:lnTo>
                  <a:lnTo>
                    <a:pt x="4941" y="2696"/>
                  </a:lnTo>
                  <a:cubicBezTo>
                    <a:pt x="6008" y="2083"/>
                    <a:pt x="6008" y="1081"/>
                    <a:pt x="4941" y="460"/>
                  </a:cubicBezTo>
                  <a:cubicBezTo>
                    <a:pt x="4407" y="154"/>
                    <a:pt x="3705" y="1"/>
                    <a:pt x="30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44"/>
            <p:cNvSpPr/>
            <p:nvPr/>
          </p:nvSpPr>
          <p:spPr>
            <a:xfrm>
              <a:off x="4435539" y="2092062"/>
              <a:ext cx="751177" cy="433397"/>
            </a:xfrm>
            <a:custGeom>
              <a:avLst/>
              <a:gdLst/>
              <a:ahLst/>
              <a:cxnLst/>
              <a:rect l="l" t="t" r="r" b="b"/>
              <a:pathLst>
                <a:path w="3326" h="1919" extrusionOk="0">
                  <a:moveTo>
                    <a:pt x="1667" y="0"/>
                  </a:moveTo>
                  <a:cubicBezTo>
                    <a:pt x="743" y="0"/>
                    <a:pt x="1" y="433"/>
                    <a:pt x="1" y="959"/>
                  </a:cubicBezTo>
                  <a:cubicBezTo>
                    <a:pt x="1" y="1493"/>
                    <a:pt x="743" y="1919"/>
                    <a:pt x="1667" y="1919"/>
                  </a:cubicBezTo>
                  <a:cubicBezTo>
                    <a:pt x="2583" y="1919"/>
                    <a:pt x="3325" y="1493"/>
                    <a:pt x="3325" y="959"/>
                  </a:cubicBezTo>
                  <a:cubicBezTo>
                    <a:pt x="3325" y="433"/>
                    <a:pt x="2583" y="0"/>
                    <a:pt x="166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44"/>
            <p:cNvSpPr/>
            <p:nvPr/>
          </p:nvSpPr>
          <p:spPr>
            <a:xfrm>
              <a:off x="4422440" y="2092062"/>
              <a:ext cx="777376" cy="246171"/>
            </a:xfrm>
            <a:custGeom>
              <a:avLst/>
              <a:gdLst/>
              <a:ahLst/>
              <a:cxnLst/>
              <a:rect l="l" t="t" r="r" b="b"/>
              <a:pathLst>
                <a:path w="3442" h="1090" extrusionOk="0">
                  <a:moveTo>
                    <a:pt x="1721" y="0"/>
                  </a:moveTo>
                  <a:cubicBezTo>
                    <a:pt x="1294" y="0"/>
                    <a:pt x="866" y="94"/>
                    <a:pt x="542" y="281"/>
                  </a:cubicBezTo>
                  <a:cubicBezTo>
                    <a:pt x="159" y="505"/>
                    <a:pt x="1" y="808"/>
                    <a:pt x="73" y="1089"/>
                  </a:cubicBezTo>
                  <a:cubicBezTo>
                    <a:pt x="123" y="894"/>
                    <a:pt x="282" y="707"/>
                    <a:pt x="542" y="548"/>
                  </a:cubicBezTo>
                  <a:cubicBezTo>
                    <a:pt x="866" y="361"/>
                    <a:pt x="1294" y="267"/>
                    <a:pt x="1721" y="267"/>
                  </a:cubicBezTo>
                  <a:cubicBezTo>
                    <a:pt x="2148" y="267"/>
                    <a:pt x="2576" y="361"/>
                    <a:pt x="2900" y="548"/>
                  </a:cubicBezTo>
                  <a:cubicBezTo>
                    <a:pt x="3160" y="707"/>
                    <a:pt x="3319" y="894"/>
                    <a:pt x="3369" y="1089"/>
                  </a:cubicBezTo>
                  <a:cubicBezTo>
                    <a:pt x="3441" y="801"/>
                    <a:pt x="3282" y="498"/>
                    <a:pt x="2900" y="281"/>
                  </a:cubicBezTo>
                  <a:cubicBezTo>
                    <a:pt x="2576" y="94"/>
                    <a:pt x="2148" y="0"/>
                    <a:pt x="172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1" name="Google Shape;321;p44"/>
          <p:cNvGrpSpPr/>
          <p:nvPr/>
        </p:nvGrpSpPr>
        <p:grpSpPr>
          <a:xfrm>
            <a:off x="3098282" y="2621217"/>
            <a:ext cx="1554074" cy="875827"/>
            <a:chOff x="3098282" y="2621217"/>
            <a:chExt cx="1554074" cy="875827"/>
          </a:xfrm>
        </p:grpSpPr>
        <p:sp>
          <p:nvSpPr>
            <p:cNvPr id="322" name="Google Shape;322;p44"/>
            <p:cNvSpPr/>
            <p:nvPr/>
          </p:nvSpPr>
          <p:spPr>
            <a:xfrm>
              <a:off x="3158584" y="2621895"/>
              <a:ext cx="1493772" cy="875149"/>
            </a:xfrm>
            <a:custGeom>
              <a:avLst/>
              <a:gdLst/>
              <a:ahLst/>
              <a:cxnLst/>
              <a:rect l="l" t="t" r="r" b="b"/>
              <a:pathLst>
                <a:path w="6614" h="3875" extrusionOk="0">
                  <a:moveTo>
                    <a:pt x="2740" y="0"/>
                  </a:moveTo>
                  <a:cubicBezTo>
                    <a:pt x="2039" y="0"/>
                    <a:pt x="1338" y="153"/>
                    <a:pt x="801" y="460"/>
                  </a:cubicBezTo>
                  <a:cubicBezTo>
                    <a:pt x="274" y="770"/>
                    <a:pt x="0" y="1174"/>
                    <a:pt x="0" y="1578"/>
                  </a:cubicBezTo>
                  <a:lnTo>
                    <a:pt x="0" y="2292"/>
                  </a:lnTo>
                  <a:cubicBezTo>
                    <a:pt x="0" y="2696"/>
                    <a:pt x="274" y="3107"/>
                    <a:pt x="801" y="3410"/>
                  </a:cubicBezTo>
                  <a:cubicBezTo>
                    <a:pt x="1338" y="3720"/>
                    <a:pt x="2039" y="3875"/>
                    <a:pt x="2741" y="3875"/>
                  </a:cubicBezTo>
                  <a:cubicBezTo>
                    <a:pt x="3442" y="3875"/>
                    <a:pt x="4144" y="3720"/>
                    <a:pt x="4681" y="3410"/>
                  </a:cubicBezTo>
                  <a:lnTo>
                    <a:pt x="6614" y="2292"/>
                  </a:lnTo>
                  <a:lnTo>
                    <a:pt x="6614" y="1578"/>
                  </a:lnTo>
                  <a:lnTo>
                    <a:pt x="4674" y="460"/>
                  </a:lnTo>
                  <a:cubicBezTo>
                    <a:pt x="4140" y="153"/>
                    <a:pt x="3440" y="0"/>
                    <a:pt x="274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44"/>
            <p:cNvSpPr/>
            <p:nvPr/>
          </p:nvSpPr>
          <p:spPr>
            <a:xfrm>
              <a:off x="3098282" y="2621217"/>
              <a:ext cx="1554074" cy="714574"/>
            </a:xfrm>
            <a:custGeom>
              <a:avLst/>
              <a:gdLst/>
              <a:ahLst/>
              <a:cxnLst/>
              <a:rect l="l" t="t" r="r" b="b"/>
              <a:pathLst>
                <a:path w="6881" h="3164" extrusionOk="0">
                  <a:moveTo>
                    <a:pt x="3014" y="0"/>
                  </a:moveTo>
                  <a:cubicBezTo>
                    <a:pt x="2310" y="0"/>
                    <a:pt x="1606" y="155"/>
                    <a:pt x="1068" y="463"/>
                  </a:cubicBezTo>
                  <a:cubicBezTo>
                    <a:pt x="0" y="1076"/>
                    <a:pt x="0" y="2078"/>
                    <a:pt x="1068" y="2699"/>
                  </a:cubicBezTo>
                  <a:cubicBezTo>
                    <a:pt x="1605" y="3009"/>
                    <a:pt x="2306" y="3164"/>
                    <a:pt x="3007" y="3164"/>
                  </a:cubicBezTo>
                  <a:cubicBezTo>
                    <a:pt x="3707" y="3164"/>
                    <a:pt x="4407" y="3009"/>
                    <a:pt x="4941" y="2699"/>
                  </a:cubicBezTo>
                  <a:lnTo>
                    <a:pt x="6881" y="1581"/>
                  </a:lnTo>
                  <a:lnTo>
                    <a:pt x="4948" y="463"/>
                  </a:lnTo>
                  <a:cubicBezTo>
                    <a:pt x="4412" y="154"/>
                    <a:pt x="3713" y="0"/>
                    <a:pt x="301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44"/>
            <p:cNvSpPr/>
            <p:nvPr/>
          </p:nvSpPr>
          <p:spPr>
            <a:xfrm>
              <a:off x="3401146" y="2761467"/>
              <a:ext cx="751177" cy="435203"/>
            </a:xfrm>
            <a:custGeom>
              <a:avLst/>
              <a:gdLst/>
              <a:ahLst/>
              <a:cxnLst/>
              <a:rect l="l" t="t" r="r" b="b"/>
              <a:pathLst>
                <a:path w="3326" h="1927" extrusionOk="0">
                  <a:moveTo>
                    <a:pt x="1667" y="0"/>
                  </a:moveTo>
                  <a:cubicBezTo>
                    <a:pt x="744" y="0"/>
                    <a:pt x="1" y="433"/>
                    <a:pt x="1" y="960"/>
                  </a:cubicBezTo>
                  <a:cubicBezTo>
                    <a:pt x="1" y="1493"/>
                    <a:pt x="744" y="1926"/>
                    <a:pt x="1667" y="1926"/>
                  </a:cubicBezTo>
                  <a:cubicBezTo>
                    <a:pt x="2583" y="1926"/>
                    <a:pt x="3326" y="1493"/>
                    <a:pt x="3326" y="960"/>
                  </a:cubicBezTo>
                  <a:cubicBezTo>
                    <a:pt x="3326" y="433"/>
                    <a:pt x="2583" y="0"/>
                    <a:pt x="166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44"/>
            <p:cNvSpPr/>
            <p:nvPr/>
          </p:nvSpPr>
          <p:spPr>
            <a:xfrm>
              <a:off x="3389854" y="2761467"/>
              <a:ext cx="775569" cy="247752"/>
            </a:xfrm>
            <a:custGeom>
              <a:avLst/>
              <a:gdLst/>
              <a:ahLst/>
              <a:cxnLst/>
              <a:rect l="l" t="t" r="r" b="b"/>
              <a:pathLst>
                <a:path w="3434" h="1097" extrusionOk="0">
                  <a:moveTo>
                    <a:pt x="1717" y="0"/>
                  </a:moveTo>
                  <a:cubicBezTo>
                    <a:pt x="1291" y="0"/>
                    <a:pt x="866" y="94"/>
                    <a:pt x="541" y="282"/>
                  </a:cubicBezTo>
                  <a:cubicBezTo>
                    <a:pt x="152" y="505"/>
                    <a:pt x="0" y="808"/>
                    <a:pt x="72" y="1097"/>
                  </a:cubicBezTo>
                  <a:cubicBezTo>
                    <a:pt x="116" y="895"/>
                    <a:pt x="274" y="707"/>
                    <a:pt x="541" y="556"/>
                  </a:cubicBezTo>
                  <a:cubicBezTo>
                    <a:pt x="866" y="368"/>
                    <a:pt x="1291" y="275"/>
                    <a:pt x="1717" y="275"/>
                  </a:cubicBezTo>
                  <a:cubicBezTo>
                    <a:pt x="2142" y="275"/>
                    <a:pt x="2568" y="368"/>
                    <a:pt x="2892" y="556"/>
                  </a:cubicBezTo>
                  <a:cubicBezTo>
                    <a:pt x="3159" y="707"/>
                    <a:pt x="3311" y="895"/>
                    <a:pt x="3361" y="1097"/>
                  </a:cubicBezTo>
                  <a:cubicBezTo>
                    <a:pt x="3433" y="808"/>
                    <a:pt x="3275" y="498"/>
                    <a:pt x="2892" y="282"/>
                  </a:cubicBezTo>
                  <a:cubicBezTo>
                    <a:pt x="2568" y="94"/>
                    <a:pt x="2142" y="0"/>
                    <a:pt x="171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6" name="Google Shape;326;p44"/>
          <p:cNvGrpSpPr/>
          <p:nvPr/>
        </p:nvGrpSpPr>
        <p:grpSpPr>
          <a:xfrm>
            <a:off x="4126125" y="3140886"/>
            <a:ext cx="1360295" cy="1022852"/>
            <a:chOff x="4126125" y="3140886"/>
            <a:chExt cx="1360295" cy="1022852"/>
          </a:xfrm>
        </p:grpSpPr>
        <p:sp>
          <p:nvSpPr>
            <p:cNvPr id="327" name="Google Shape;327;p44"/>
            <p:cNvSpPr/>
            <p:nvPr/>
          </p:nvSpPr>
          <p:spPr>
            <a:xfrm>
              <a:off x="4186427" y="3140886"/>
              <a:ext cx="1238110" cy="1022852"/>
            </a:xfrm>
            <a:custGeom>
              <a:avLst/>
              <a:gdLst/>
              <a:ahLst/>
              <a:cxnLst/>
              <a:rect l="l" t="t" r="r" b="b"/>
              <a:pathLst>
                <a:path w="5482" h="4529" extrusionOk="0">
                  <a:moveTo>
                    <a:pt x="2741" y="1"/>
                  </a:moveTo>
                  <a:lnTo>
                    <a:pt x="808" y="1119"/>
                  </a:lnTo>
                  <a:cubicBezTo>
                    <a:pt x="267" y="1429"/>
                    <a:pt x="0" y="1833"/>
                    <a:pt x="0" y="2237"/>
                  </a:cubicBezTo>
                  <a:lnTo>
                    <a:pt x="0" y="2951"/>
                  </a:lnTo>
                  <a:cubicBezTo>
                    <a:pt x="0" y="3355"/>
                    <a:pt x="274" y="3759"/>
                    <a:pt x="808" y="4069"/>
                  </a:cubicBezTo>
                  <a:cubicBezTo>
                    <a:pt x="1342" y="4375"/>
                    <a:pt x="2041" y="4529"/>
                    <a:pt x="2742" y="4529"/>
                  </a:cubicBezTo>
                  <a:cubicBezTo>
                    <a:pt x="3442" y="4529"/>
                    <a:pt x="4144" y="4375"/>
                    <a:pt x="4681" y="4069"/>
                  </a:cubicBezTo>
                  <a:cubicBezTo>
                    <a:pt x="5215" y="3759"/>
                    <a:pt x="5481" y="3355"/>
                    <a:pt x="5481" y="2951"/>
                  </a:cubicBezTo>
                  <a:lnTo>
                    <a:pt x="5481" y="2165"/>
                  </a:lnTo>
                  <a:lnTo>
                    <a:pt x="5474" y="2165"/>
                  </a:lnTo>
                  <a:cubicBezTo>
                    <a:pt x="5445" y="1782"/>
                    <a:pt x="5179" y="1407"/>
                    <a:pt x="4681" y="1119"/>
                  </a:cubicBezTo>
                  <a:lnTo>
                    <a:pt x="274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44"/>
            <p:cNvSpPr/>
            <p:nvPr/>
          </p:nvSpPr>
          <p:spPr>
            <a:xfrm>
              <a:off x="4126125" y="3140886"/>
              <a:ext cx="1360295" cy="861599"/>
            </a:xfrm>
            <a:custGeom>
              <a:avLst/>
              <a:gdLst/>
              <a:ahLst/>
              <a:cxnLst/>
              <a:rect l="l" t="t" r="r" b="b"/>
              <a:pathLst>
                <a:path w="6023" h="3815" extrusionOk="0">
                  <a:moveTo>
                    <a:pt x="3015" y="1"/>
                  </a:moveTo>
                  <a:lnTo>
                    <a:pt x="1075" y="1119"/>
                  </a:lnTo>
                  <a:cubicBezTo>
                    <a:pt x="0" y="1732"/>
                    <a:pt x="0" y="2734"/>
                    <a:pt x="1075" y="3355"/>
                  </a:cubicBezTo>
                  <a:cubicBezTo>
                    <a:pt x="1609" y="3661"/>
                    <a:pt x="2308" y="3815"/>
                    <a:pt x="3009" y="3815"/>
                  </a:cubicBezTo>
                  <a:cubicBezTo>
                    <a:pt x="3709" y="3815"/>
                    <a:pt x="4411" y="3661"/>
                    <a:pt x="4948" y="3355"/>
                  </a:cubicBezTo>
                  <a:cubicBezTo>
                    <a:pt x="6023" y="2734"/>
                    <a:pt x="6015" y="1732"/>
                    <a:pt x="4948" y="1119"/>
                  </a:cubicBezTo>
                  <a:lnTo>
                    <a:pt x="301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44"/>
            <p:cNvSpPr/>
            <p:nvPr/>
          </p:nvSpPr>
          <p:spPr>
            <a:xfrm>
              <a:off x="4393306" y="3427710"/>
              <a:ext cx="824353" cy="435203"/>
            </a:xfrm>
            <a:custGeom>
              <a:avLst/>
              <a:gdLst/>
              <a:ahLst/>
              <a:cxnLst/>
              <a:rect l="l" t="t" r="r" b="b"/>
              <a:pathLst>
                <a:path w="3650" h="1927" extrusionOk="0">
                  <a:moveTo>
                    <a:pt x="1825" y="0"/>
                  </a:moveTo>
                  <a:cubicBezTo>
                    <a:pt x="1399" y="0"/>
                    <a:pt x="974" y="94"/>
                    <a:pt x="649" y="282"/>
                  </a:cubicBezTo>
                  <a:cubicBezTo>
                    <a:pt x="0" y="664"/>
                    <a:pt x="0" y="1270"/>
                    <a:pt x="649" y="1645"/>
                  </a:cubicBezTo>
                  <a:cubicBezTo>
                    <a:pt x="974" y="1832"/>
                    <a:pt x="1399" y="1926"/>
                    <a:pt x="1825" y="1926"/>
                  </a:cubicBezTo>
                  <a:cubicBezTo>
                    <a:pt x="2250" y="1926"/>
                    <a:pt x="2676" y="1832"/>
                    <a:pt x="3000" y="1645"/>
                  </a:cubicBezTo>
                  <a:cubicBezTo>
                    <a:pt x="3649" y="1270"/>
                    <a:pt x="3649" y="657"/>
                    <a:pt x="3000" y="282"/>
                  </a:cubicBezTo>
                  <a:cubicBezTo>
                    <a:pt x="2676" y="94"/>
                    <a:pt x="2250" y="0"/>
                    <a:pt x="182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44"/>
            <p:cNvSpPr/>
            <p:nvPr/>
          </p:nvSpPr>
          <p:spPr>
            <a:xfrm>
              <a:off x="4417697" y="3427710"/>
              <a:ext cx="775569" cy="247752"/>
            </a:xfrm>
            <a:custGeom>
              <a:avLst/>
              <a:gdLst/>
              <a:ahLst/>
              <a:cxnLst/>
              <a:rect l="l" t="t" r="r" b="b"/>
              <a:pathLst>
                <a:path w="3434" h="1097" extrusionOk="0">
                  <a:moveTo>
                    <a:pt x="1717" y="0"/>
                  </a:moveTo>
                  <a:cubicBezTo>
                    <a:pt x="1291" y="0"/>
                    <a:pt x="866" y="94"/>
                    <a:pt x="541" y="282"/>
                  </a:cubicBezTo>
                  <a:cubicBezTo>
                    <a:pt x="159" y="505"/>
                    <a:pt x="0" y="808"/>
                    <a:pt x="72" y="1097"/>
                  </a:cubicBezTo>
                  <a:cubicBezTo>
                    <a:pt x="123" y="902"/>
                    <a:pt x="274" y="707"/>
                    <a:pt x="541" y="556"/>
                  </a:cubicBezTo>
                  <a:cubicBezTo>
                    <a:pt x="866" y="368"/>
                    <a:pt x="1291" y="274"/>
                    <a:pt x="1717" y="274"/>
                  </a:cubicBezTo>
                  <a:cubicBezTo>
                    <a:pt x="2142" y="274"/>
                    <a:pt x="2568" y="368"/>
                    <a:pt x="2892" y="556"/>
                  </a:cubicBezTo>
                  <a:cubicBezTo>
                    <a:pt x="3159" y="707"/>
                    <a:pt x="3318" y="902"/>
                    <a:pt x="3361" y="1097"/>
                  </a:cubicBezTo>
                  <a:cubicBezTo>
                    <a:pt x="3433" y="808"/>
                    <a:pt x="3282" y="505"/>
                    <a:pt x="2892" y="282"/>
                  </a:cubicBezTo>
                  <a:cubicBezTo>
                    <a:pt x="2568" y="94"/>
                    <a:pt x="2142" y="0"/>
                    <a:pt x="171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" name="Analytics1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9122" y="587100"/>
            <a:ext cx="662915" cy="542925"/>
            <a:chOff x="7169151" y="725488"/>
            <a:chExt cx="885825" cy="725488"/>
          </a:xfrm>
          <a:solidFill>
            <a:schemeClr val="accent1"/>
          </a:solidFill>
        </p:grpSpPr>
        <p:sp>
          <p:nvSpPr>
            <p:cNvPr id="24" name="Freeform 324"/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25"/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326"/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27"/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328"/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29"/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30"/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31"/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32"/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33"/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34"/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35"/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36"/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37"/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38"/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39"/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4" name="Google Shape;344;p46"/>
          <p:cNvGraphicFramePr/>
          <p:nvPr/>
        </p:nvGraphicFramePr>
        <p:xfrm>
          <a:off x="1068100" y="1677910"/>
          <a:ext cx="7047300" cy="2386325"/>
        </p:xfrm>
        <a:graphic>
          <a:graphicData uri="http://schemas.openxmlformats.org/drawingml/2006/table">
            <a:tbl>
              <a:tblPr>
                <a:noFill/>
                <a:tableStyleId>{548FF324-D5AF-49EA-A2E9-B6584FF6F7AD}</a:tableStyleId>
              </a:tblPr>
              <a:tblGrid>
                <a:gridCol w="1256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6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2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2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41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rgbClr val="666666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MASS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sz="900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(earths)</a:t>
                      </a:r>
                      <a:endParaRPr sz="900"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>
                    <a:lnL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DIAMETER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sz="900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(earths)</a:t>
                      </a:r>
                      <a:endParaRPr sz="1200"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>
                    <a:lnL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SURFACE GRAVITY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s" sz="900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(earths)</a:t>
                      </a:r>
                      <a:endParaRPr sz="1200"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>
                    <a:lnL w="9525" cap="flat" cmpd="sng">
                      <a:solidFill>
                        <a:srgbClr val="EFD67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FEFE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38100" cap="flat" cmpd="sng">
                      <a:solidFill>
                        <a:srgbClr val="8B81D2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7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MERCURY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06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38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38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7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MARS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11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53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0,38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74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 b="1">
                          <a:solidFill>
                            <a:schemeClr val="dk1"/>
                          </a:solidFill>
                          <a:latin typeface="Ubuntu"/>
                          <a:ea typeface="Ubuntu"/>
                          <a:cs typeface="Ubuntu"/>
                          <a:sym typeface="Ubuntu"/>
                        </a:rPr>
                        <a:t>SATURN</a:t>
                      </a:r>
                      <a:endParaRPr b="1">
                        <a:solidFill>
                          <a:schemeClr val="dk1"/>
                        </a:solidFill>
                        <a:latin typeface="Ubuntu"/>
                        <a:ea typeface="Ubuntu"/>
                        <a:cs typeface="Ubuntu"/>
                        <a:sym typeface="Ubuntu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312E2F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95,2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9,4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">
                          <a:solidFill>
                            <a:schemeClr val="dk2"/>
                          </a:solidFill>
                          <a:latin typeface="Ubuntu Light"/>
                          <a:ea typeface="Ubuntu Light"/>
                          <a:cs typeface="Ubuntu Light"/>
                          <a:sym typeface="Ubuntu Light"/>
                        </a:rPr>
                        <a:t>1,16</a:t>
                      </a:r>
                      <a:endParaRPr>
                        <a:solidFill>
                          <a:schemeClr val="dk2"/>
                        </a:solidFill>
                        <a:latin typeface="Ubuntu Light"/>
                        <a:ea typeface="Ubuntu Light"/>
                        <a:cs typeface="Ubuntu Light"/>
                        <a:sym typeface="Ubuntu Light"/>
                      </a:endParaRPr>
                    </a:p>
                  </a:txBody>
                  <a:tcPr marL="91425" marR="91425" marT="68575" marB="68575" anchor="ctr">
                    <a:lnL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1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>
                        <a:alpha val="2793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45" name="Google Shape;345;p46"/>
          <p:cNvSpPr txBox="1">
            <a:spLocks noGrp="1"/>
          </p:cNvSpPr>
          <p:nvPr>
            <p:ph type="title"/>
          </p:nvPr>
        </p:nvSpPr>
        <p:spPr>
          <a:xfrm>
            <a:off x="1175275" y="569975"/>
            <a:ext cx="6630300" cy="55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/>
              <a:t>… and the same </a:t>
            </a:r>
            <a:r>
              <a:rPr lang="es" dirty="0"/>
              <a:t>goes for</a:t>
            </a:r>
            <a:r>
              <a:rPr lang="es" b="1" dirty="0"/>
              <a:t> tables</a:t>
            </a:r>
            <a:endParaRPr b="1" dirty="0"/>
          </a:p>
        </p:txBody>
      </p:sp>
      <p:sp>
        <p:nvSpPr>
          <p:cNvPr id="346" name="Google Shape;346;p4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>
                <a:solidFill>
                  <a:schemeClr val="bg1">
                    <a:lumMod val="65000"/>
                  </a:schemeClr>
                </a:solidFill>
              </a:rPr>
              <a:t>14</a:t>
            </a:fld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5</a:t>
            </a:fld>
            <a:endParaRPr lang="e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5979" y="1599353"/>
            <a:ext cx="3792041" cy="194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7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2</a:t>
            </a:fld>
            <a:endParaRPr lang="e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76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2"/>
          <p:cNvSpPr txBox="1">
            <a:spLocks noGrp="1"/>
          </p:cNvSpPr>
          <p:nvPr>
            <p:ph type="title"/>
          </p:nvPr>
        </p:nvSpPr>
        <p:spPr>
          <a:xfrm>
            <a:off x="570046" y="993900"/>
            <a:ext cx="3816099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6000" b="1" dirty="0" smtClean="0"/>
              <a:t>Welcome!</a:t>
            </a:r>
            <a:endParaRPr sz="6000" b="1" dirty="0"/>
          </a:p>
        </p:txBody>
      </p:sp>
      <p:sp>
        <p:nvSpPr>
          <p:cNvPr id="211" name="Google Shape;211;p32"/>
          <p:cNvSpPr txBox="1">
            <a:spLocks noGrp="1"/>
          </p:cNvSpPr>
          <p:nvPr>
            <p:ph type="subTitle" idx="1"/>
          </p:nvPr>
        </p:nvSpPr>
        <p:spPr>
          <a:xfrm>
            <a:off x="624469" y="2084194"/>
            <a:ext cx="3152077" cy="237629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sz="1600" dirty="0" smtClean="0"/>
              <a:t>Welcome to the Python Hero Academ</a:t>
            </a:r>
            <a:r>
              <a:rPr lang="en-US" sz="1600" dirty="0" smtClean="0"/>
              <a:t>y</a:t>
            </a:r>
            <a:r>
              <a:rPr lang="en-US" sz="1600" dirty="0" smtClean="0"/>
              <a:t>.</a:t>
            </a:r>
          </a:p>
          <a:p>
            <a:pPr marL="0" lvl="0" indent="0" algn="just">
              <a:buClr>
                <a:srgbClr val="000000"/>
              </a:buClr>
              <a:buSzPts val="1100"/>
            </a:pPr>
            <a:r>
              <a:rPr lang="en-US" sz="1600" dirty="0"/>
              <a:t>In this course, you'll learn </a:t>
            </a:r>
            <a:r>
              <a:rPr lang="en-US" sz="1600" dirty="0" smtClean="0"/>
              <a:t>programming </a:t>
            </a:r>
            <a:r>
              <a:rPr lang="en-US" sz="1600" dirty="0"/>
              <a:t>with python from basics to advanced. Take a </a:t>
            </a:r>
            <a:r>
              <a:rPr lang="en-US" sz="1600" b="1" i="1" u="sng" dirty="0"/>
              <a:t>real college-like </a:t>
            </a:r>
            <a:r>
              <a:rPr lang="en-US" sz="1600" dirty="0"/>
              <a:t>course without the limitations of one!</a:t>
            </a:r>
            <a:endParaRPr lang="fa-IR" sz="1600" dirty="0" smtClean="0"/>
          </a:p>
        </p:txBody>
      </p:sp>
      <p:sp>
        <p:nvSpPr>
          <p:cNvPr id="212" name="Google Shape;212;p32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3</a:t>
            </a:fld>
            <a:endParaRPr/>
          </a:p>
        </p:txBody>
      </p:sp>
      <p:cxnSp>
        <p:nvCxnSpPr>
          <p:cNvPr id="213" name="Google Shape;213;p32"/>
          <p:cNvCxnSpPr/>
          <p:nvPr/>
        </p:nvCxnSpPr>
        <p:spPr>
          <a:xfrm>
            <a:off x="678525" y="20605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250" y="449787"/>
            <a:ext cx="3954618" cy="407052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4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is Programming?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What they are and a simple comparison between them</a:t>
            </a:r>
            <a:endParaRPr lang="en-US" i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High level and low level language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A very simple description of what programming languages are</a:t>
            </a:r>
            <a:endParaRPr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/>
              <a:t>What they are and a simple comparison between them</a:t>
            </a:r>
            <a:endParaRPr lang="en-US" i="1" dirty="0"/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Interpeted and Compiled language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1</a:t>
            </a:r>
            <a:endParaRPr dirty="0"/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2</a:t>
            </a:r>
            <a:endParaRPr dirty="0"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3</a:t>
            </a:r>
            <a:endParaRPr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52428" y="1540038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2700" dirty="0" smtClean="0"/>
              <a:t>“</a:t>
            </a:r>
            <a:r>
              <a:rPr lang="en-US" sz="2700" dirty="0" smtClean="0"/>
              <a:t>Everybody should learn how to program a computer, because it teaches you how to think.”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5</a:t>
            </a:fld>
            <a:endParaRPr/>
          </a:p>
        </p:txBody>
      </p:sp>
      <p:sp>
        <p:nvSpPr>
          <p:cNvPr id="228" name="Google Shape;228;p34"/>
          <p:cNvSpPr txBox="1">
            <a:spLocks noGrp="1"/>
          </p:cNvSpPr>
          <p:nvPr>
            <p:ph type="subTitle" idx="2"/>
          </p:nvPr>
        </p:nvSpPr>
        <p:spPr>
          <a:xfrm>
            <a:off x="1894475" y="2843585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lt1"/>
                </a:solidFill>
              </a:rPr>
              <a:t>—Steve Jobs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3"/>
          <p:cNvSpPr txBox="1">
            <a:spLocks noGrp="1"/>
          </p:cNvSpPr>
          <p:nvPr>
            <p:ph type="subTitle" idx="1"/>
          </p:nvPr>
        </p:nvSpPr>
        <p:spPr>
          <a:xfrm>
            <a:off x="2675901" y="2250384"/>
            <a:ext cx="31362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</a:t>
            </a:r>
            <a:r>
              <a:rPr lang="es" dirty="0" smtClean="0"/>
              <a:t>luh bluh bluh bluh</a:t>
            </a:r>
            <a:endParaRPr dirty="0"/>
          </a:p>
        </p:txBody>
      </p:sp>
      <p:sp>
        <p:nvSpPr>
          <p:cNvPr id="220" name="Google Shape;220;p33"/>
          <p:cNvSpPr txBox="1">
            <a:spLocks noGrp="1"/>
          </p:cNvSpPr>
          <p:nvPr>
            <p:ph type="title"/>
          </p:nvPr>
        </p:nvSpPr>
        <p:spPr>
          <a:xfrm>
            <a:off x="2675901" y="900342"/>
            <a:ext cx="3926100" cy="121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sz="3600" dirty="0">
                <a:solidFill>
                  <a:schemeClr val="dk2"/>
                </a:solidFill>
              </a:rPr>
              <a:t>I</a:t>
            </a:r>
            <a:r>
              <a:rPr lang="es" sz="3600" b="1" dirty="0">
                <a:solidFill>
                  <a:schemeClr val="dk2"/>
                </a:solidFill>
              </a:rPr>
              <a:t>mportant information</a:t>
            </a:r>
            <a:endParaRPr sz="3600" b="1" dirty="0">
              <a:solidFill>
                <a:schemeClr val="dk2"/>
              </a:solidFill>
            </a:endParaRPr>
          </a:p>
        </p:txBody>
      </p:sp>
      <p:sp>
        <p:nvSpPr>
          <p:cNvPr id="221" name="Google Shape;221;p33"/>
          <p:cNvSpPr/>
          <p:nvPr/>
        </p:nvSpPr>
        <p:spPr>
          <a:xfrm>
            <a:off x="1430400" y="1371450"/>
            <a:ext cx="1147200" cy="39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6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35"/>
          <p:cNvSpPr txBox="1">
            <a:spLocks noGrp="1"/>
          </p:cNvSpPr>
          <p:nvPr>
            <p:ph type="title"/>
          </p:nvPr>
        </p:nvSpPr>
        <p:spPr>
          <a:xfrm>
            <a:off x="4598900" y="1491800"/>
            <a:ext cx="3593700" cy="1206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dirty="0"/>
              <a:t>1. </a:t>
            </a:r>
            <a:r>
              <a:rPr lang="es" dirty="0" smtClean="0"/>
              <a:t>Title</a:t>
            </a:r>
            <a:endParaRPr dirty="0"/>
          </a:p>
        </p:txBody>
      </p:sp>
      <p:sp>
        <p:nvSpPr>
          <p:cNvPr id="234" name="Google Shape;234;p35"/>
          <p:cNvSpPr txBox="1">
            <a:spLocks noGrp="1"/>
          </p:cNvSpPr>
          <p:nvPr>
            <p:ph type="subTitle" idx="1"/>
          </p:nvPr>
        </p:nvSpPr>
        <p:spPr>
          <a:xfrm>
            <a:off x="4598900" y="2968192"/>
            <a:ext cx="2920800" cy="159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A summary</a:t>
            </a:r>
            <a:endParaRPr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7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ain Explanation</a:t>
            </a:r>
            <a:endParaRPr dirty="0"/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2400" dirty="0" smtClean="0"/>
              <a:t>Title</a:t>
            </a:r>
            <a:endParaRPr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8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38"/>
          <p:cNvSpPr txBox="1">
            <a:spLocks noGrp="1"/>
          </p:cNvSpPr>
          <p:nvPr>
            <p:ph type="title"/>
          </p:nvPr>
        </p:nvSpPr>
        <p:spPr>
          <a:xfrm>
            <a:off x="626079" y="980260"/>
            <a:ext cx="3571500" cy="578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b="1" dirty="0" smtClean="0"/>
              <a:t>Dividing to two</a:t>
            </a:r>
            <a:endParaRPr b="1" dirty="0"/>
          </a:p>
        </p:txBody>
      </p:sp>
      <p:sp>
        <p:nvSpPr>
          <p:cNvPr id="258" name="Google Shape;258;p3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>
                <a:solidFill>
                  <a:srgbClr val="B7B7B7"/>
                </a:solidFill>
              </a:rPr>
              <a:t>9</a:t>
            </a:fld>
            <a:endParaRPr>
              <a:solidFill>
                <a:srgbClr val="B7B7B7"/>
              </a:solidFill>
            </a:endParaRPr>
          </a:p>
        </p:txBody>
      </p:sp>
      <p:sp>
        <p:nvSpPr>
          <p:cNvPr id="259" name="Google Shape;259;p38"/>
          <p:cNvSpPr txBox="1">
            <a:spLocks noGrp="1"/>
          </p:cNvSpPr>
          <p:nvPr>
            <p:ph type="subTitle" idx="1"/>
          </p:nvPr>
        </p:nvSpPr>
        <p:spPr>
          <a:xfrm>
            <a:off x="626079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Pros :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1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2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3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4.</a:t>
            </a:r>
            <a:endParaRPr b="1" dirty="0"/>
          </a:p>
        </p:txBody>
      </p:sp>
      <p:sp>
        <p:nvSpPr>
          <p:cNvPr id="260" name="Google Shape;260;p38"/>
          <p:cNvSpPr txBox="1">
            <a:spLocks noGrp="1"/>
          </p:cNvSpPr>
          <p:nvPr>
            <p:ph type="subTitle" idx="2"/>
          </p:nvPr>
        </p:nvSpPr>
        <p:spPr>
          <a:xfrm>
            <a:off x="5079304" y="2261500"/>
            <a:ext cx="3606600" cy="194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/>
              <a:t>C</a:t>
            </a:r>
            <a:r>
              <a:rPr lang="es" b="1" dirty="0" smtClean="0"/>
              <a:t>ons :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1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2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3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b="1" dirty="0" smtClean="0"/>
              <a:t>4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Minimal Charm">
  <a:themeElements>
    <a:clrScheme name="Custom 46">
      <a:dk1>
        <a:srgbClr val="F2F2F2"/>
      </a:dk1>
      <a:lt1>
        <a:srgbClr val="FFFFFF"/>
      </a:lt1>
      <a:dk2>
        <a:srgbClr val="666666"/>
      </a:dk2>
      <a:lt2>
        <a:srgbClr val="999999"/>
      </a:lt2>
      <a:accent1>
        <a:srgbClr val="30B854"/>
      </a:accent1>
      <a:accent2>
        <a:srgbClr val="BEEECA"/>
      </a:accent2>
      <a:accent3>
        <a:srgbClr val="1F7A37"/>
      </a:accent3>
      <a:accent4>
        <a:srgbClr val="1F7A37"/>
      </a:accent4>
      <a:accent5>
        <a:srgbClr val="135CE7"/>
      </a:accent5>
      <a:accent6>
        <a:srgbClr val="B7C8E9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9</TotalTime>
  <Words>294</Words>
  <Application>Microsoft Office PowerPoint</Application>
  <PresentationFormat>On-screen Show (16:9)</PresentationFormat>
  <Paragraphs>102</Paragraphs>
  <Slides>15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vo</vt:lpstr>
      <vt:lpstr>Arial</vt:lpstr>
      <vt:lpstr>Bodoni</vt:lpstr>
      <vt:lpstr>Ubuntu</vt:lpstr>
      <vt:lpstr>Ubuntu Medium</vt:lpstr>
      <vt:lpstr>Ubuntu Light</vt:lpstr>
      <vt:lpstr>Calibri</vt:lpstr>
      <vt:lpstr>Minimal Charm</vt:lpstr>
      <vt:lpstr>1. Introduction to Programming and Python</vt:lpstr>
      <vt:lpstr>PowerPoint Presentation</vt:lpstr>
      <vt:lpstr>Welcome!</vt:lpstr>
      <vt:lpstr>Contents</vt:lpstr>
      <vt:lpstr>PowerPoint Presentation</vt:lpstr>
      <vt:lpstr>Important information</vt:lpstr>
      <vt:lpstr>1. Title</vt:lpstr>
      <vt:lpstr>Title</vt:lpstr>
      <vt:lpstr>Dividing to two</vt:lpstr>
      <vt:lpstr>Dividing to two</vt:lpstr>
      <vt:lpstr>Timeline (Other modules also available)</vt:lpstr>
      <vt:lpstr>123</vt:lpstr>
      <vt:lpstr>Infographics …</vt:lpstr>
      <vt:lpstr>… and the same goes for tabl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begins</dc:title>
  <dc:creator>maryam</dc:creator>
  <cp:lastModifiedBy>Maryam Tashvighi</cp:lastModifiedBy>
  <cp:revision>42</cp:revision>
  <dcterms:modified xsi:type="dcterms:W3CDTF">2021-02-08T11:56:38Z</dcterms:modified>
</cp:coreProperties>
</file>